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5.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6.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7.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25.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52.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3.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54.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26.xml" ContentType="application/vnd.openxmlformats-officedocument.presentationml.tags+xml"/>
  <Override PartName="/ppt/notesSlides/notesSlide5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14"/>
    <p:sldMasterId id="2147483783" r:id="rId15"/>
    <p:sldMasterId id="2147483790" r:id="rId16"/>
    <p:sldMasterId id="2147483819" r:id="rId17"/>
    <p:sldMasterId id="2147483866" r:id="rId18"/>
  </p:sldMasterIdLst>
  <p:notesMasterIdLst>
    <p:notesMasterId r:id="rId93"/>
  </p:notesMasterIdLst>
  <p:handoutMasterIdLst>
    <p:handoutMasterId r:id="rId94"/>
  </p:handoutMasterIdLst>
  <p:sldIdLst>
    <p:sldId id="260" r:id="rId19"/>
    <p:sldId id="562" r:id="rId20"/>
    <p:sldId id="1549" r:id="rId21"/>
    <p:sldId id="1548" r:id="rId22"/>
    <p:sldId id="1602" r:id="rId23"/>
    <p:sldId id="1655" r:id="rId24"/>
    <p:sldId id="598" r:id="rId25"/>
    <p:sldId id="299" r:id="rId26"/>
    <p:sldId id="1551" r:id="rId27"/>
    <p:sldId id="482" r:id="rId28"/>
    <p:sldId id="1608" r:id="rId29"/>
    <p:sldId id="1555" r:id="rId30"/>
    <p:sldId id="1553" r:id="rId31"/>
    <p:sldId id="1612" r:id="rId32"/>
    <p:sldId id="564" r:id="rId33"/>
    <p:sldId id="1657" r:id="rId34"/>
    <p:sldId id="1616" r:id="rId35"/>
    <p:sldId id="1568" r:id="rId36"/>
    <p:sldId id="487" r:id="rId37"/>
    <p:sldId id="541" r:id="rId38"/>
    <p:sldId id="484" r:id="rId39"/>
    <p:sldId id="485" r:id="rId40"/>
    <p:sldId id="486" r:id="rId41"/>
    <p:sldId id="566" r:id="rId42"/>
    <p:sldId id="1609" r:id="rId43"/>
    <p:sldId id="1582" r:id="rId44"/>
    <p:sldId id="1583" r:id="rId45"/>
    <p:sldId id="567" r:id="rId46"/>
    <p:sldId id="568" r:id="rId47"/>
    <p:sldId id="1617" r:id="rId48"/>
    <p:sldId id="571" r:id="rId49"/>
    <p:sldId id="572" r:id="rId50"/>
    <p:sldId id="313" r:id="rId51"/>
    <p:sldId id="1539" r:id="rId52"/>
    <p:sldId id="1656" r:id="rId53"/>
    <p:sldId id="1570" r:id="rId54"/>
    <p:sldId id="1541" r:id="rId55"/>
    <p:sldId id="1650" r:id="rId56"/>
    <p:sldId id="1540" r:id="rId57"/>
    <p:sldId id="597" r:id="rId58"/>
    <p:sldId id="1543" r:id="rId59"/>
    <p:sldId id="1545" r:id="rId60"/>
    <p:sldId id="1546" r:id="rId61"/>
    <p:sldId id="1653" r:id="rId62"/>
    <p:sldId id="600" r:id="rId63"/>
    <p:sldId id="574" r:id="rId64"/>
    <p:sldId id="577" r:id="rId65"/>
    <p:sldId id="578" r:id="rId66"/>
    <p:sldId id="579" r:id="rId67"/>
    <p:sldId id="688" r:id="rId68"/>
    <p:sldId id="692" r:id="rId69"/>
    <p:sldId id="690" r:id="rId70"/>
    <p:sldId id="691" r:id="rId71"/>
    <p:sldId id="768" r:id="rId72"/>
    <p:sldId id="769" r:id="rId73"/>
    <p:sldId id="583" r:id="rId74"/>
    <p:sldId id="1618" r:id="rId75"/>
    <p:sldId id="585" r:id="rId76"/>
    <p:sldId id="586" r:id="rId77"/>
    <p:sldId id="1595" r:id="rId78"/>
    <p:sldId id="1597" r:id="rId79"/>
    <p:sldId id="1598" r:id="rId80"/>
    <p:sldId id="1599" r:id="rId81"/>
    <p:sldId id="1600" r:id="rId82"/>
    <p:sldId id="587" r:id="rId83"/>
    <p:sldId id="1649" r:id="rId84"/>
    <p:sldId id="1603" r:id="rId85"/>
    <p:sldId id="1605" r:id="rId86"/>
    <p:sldId id="1610" r:id="rId87"/>
    <p:sldId id="1606" r:id="rId88"/>
    <p:sldId id="588" r:id="rId89"/>
    <p:sldId id="1611" r:id="rId90"/>
    <p:sldId id="591" r:id="rId91"/>
    <p:sldId id="259" r:id="rId92"/>
  </p:sldIdLst>
  <p:sldSz cx="12192000" cy="6858000"/>
  <p:notesSz cx="6858000" cy="9144000"/>
  <p:custDataLst>
    <p:tags r:id="rId9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562"/>
            <p14:sldId id="1549"/>
          </p14:sldIdLst>
        </p14:section>
        <p14:section name="Lesson 1: SQL Server Concurrency and Transactions" id="{25ADF4C8-2200-4410-9F45-B05F5BA6D4E6}">
          <p14:sldIdLst>
            <p14:sldId id="1548"/>
            <p14:sldId id="1602"/>
            <p14:sldId id="1655"/>
            <p14:sldId id="598"/>
            <p14:sldId id="299"/>
            <p14:sldId id="1551"/>
            <p14:sldId id="482"/>
            <p14:sldId id="1608"/>
            <p14:sldId id="1555"/>
            <p14:sldId id="1553"/>
            <p14:sldId id="1612"/>
          </p14:sldIdLst>
        </p14:section>
        <p14:section name="Lesson 2: SQL Server Isolation Levels" id="{6F639A05-2893-48A9-A600-6681E43668C4}">
          <p14:sldIdLst>
            <p14:sldId id="564"/>
            <p14:sldId id="1657"/>
            <p14:sldId id="1616"/>
            <p14:sldId id="1568"/>
            <p14:sldId id="487"/>
            <p14:sldId id="541"/>
            <p14:sldId id="484"/>
            <p14:sldId id="485"/>
            <p14:sldId id="486"/>
            <p14:sldId id="566"/>
            <p14:sldId id="1609"/>
            <p14:sldId id="1582"/>
            <p14:sldId id="1583"/>
            <p14:sldId id="567"/>
            <p14:sldId id="568"/>
            <p14:sldId id="1617"/>
          </p14:sldIdLst>
        </p14:section>
        <p14:section name="Lesson 3: SQL Server Locking" id="{555EB127-B06E-428F-91FE-B308FD5309AF}">
          <p14:sldIdLst>
            <p14:sldId id="571"/>
            <p14:sldId id="572"/>
            <p14:sldId id="313"/>
            <p14:sldId id="1539"/>
            <p14:sldId id="1656"/>
            <p14:sldId id="1570"/>
            <p14:sldId id="1541"/>
            <p14:sldId id="1650"/>
            <p14:sldId id="1540"/>
            <p14:sldId id="597"/>
            <p14:sldId id="1543"/>
            <p14:sldId id="1545"/>
            <p14:sldId id="1546"/>
            <p14:sldId id="1653"/>
            <p14:sldId id="600"/>
            <p14:sldId id="574"/>
            <p14:sldId id="577"/>
          </p14:sldIdLst>
        </p14:section>
        <p14:section name="Lesson4" id="{C164F977-020D-4418-9DE6-021C7FD230FE}">
          <p14:sldIdLst>
            <p14:sldId id="578"/>
            <p14:sldId id="579"/>
            <p14:sldId id="688"/>
            <p14:sldId id="692"/>
            <p14:sldId id="690"/>
            <p14:sldId id="691"/>
            <p14:sldId id="768"/>
            <p14:sldId id="769"/>
            <p14:sldId id="583"/>
            <p14:sldId id="1618"/>
          </p14:sldIdLst>
        </p14:section>
        <p14:section name="Lesson 4: Troubleshooting Concurrency Performance" id="{116884A5-6A67-4FED-B1AB-448E0EBD0925}">
          <p14:sldIdLst>
            <p14:sldId id="585"/>
            <p14:sldId id="586"/>
            <p14:sldId id="1595"/>
            <p14:sldId id="1597"/>
            <p14:sldId id="1598"/>
            <p14:sldId id="1599"/>
            <p14:sldId id="1600"/>
            <p14:sldId id="587"/>
            <p14:sldId id="1649"/>
            <p14:sldId id="1603"/>
            <p14:sldId id="1605"/>
            <p14:sldId id="1610"/>
            <p14:sldId id="1606"/>
            <p14:sldId id="588"/>
            <p14:sldId id="1611"/>
            <p14:sldId id="591"/>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6EF"/>
    <a:srgbClr val="DBE3F1"/>
    <a:srgbClr val="CFCDFF"/>
    <a:srgbClr val="0000FF"/>
    <a:srgbClr val="FF00FF"/>
    <a:srgbClr val="2D4A75"/>
    <a:srgbClr val="4372C4"/>
    <a:srgbClr val="E49564"/>
    <a:srgbClr val="E7ECF7"/>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C41FCA-8E52-4E95-897D-74AD214D55EC}" v="105" dt="2020-05-22T06:29:53.2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565" autoAdjust="0"/>
    <p:restoredTop sz="95220" autoAdjust="0"/>
  </p:normalViewPr>
  <p:slideViewPr>
    <p:cSldViewPr snapToGrid="0">
      <p:cViewPr varScale="1">
        <p:scale>
          <a:sx n="82" d="100"/>
          <a:sy n="82" d="100"/>
        </p:scale>
        <p:origin x="336" y="67"/>
      </p:cViewPr>
      <p:guideLst/>
    </p:cSldViewPr>
  </p:slideViewPr>
  <p:notesTextViewPr>
    <p:cViewPr>
      <p:scale>
        <a:sx n="1" d="1"/>
        <a:sy n="1" d="1"/>
      </p:scale>
      <p:origin x="0" y="0"/>
    </p:cViewPr>
  </p:notesTextViewPr>
  <p:sorterViewPr>
    <p:cViewPr>
      <p:scale>
        <a:sx n="140" d="100"/>
        <a:sy n="140" d="100"/>
      </p:scale>
      <p:origin x="0" y="-37627"/>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microsoft.com/office/2015/10/relationships/revisionInfo" Target="revisionInfo.xml"/><Relationship Id="rId5" Type="http://schemas.openxmlformats.org/officeDocument/2006/relationships/customXml" Target="../customXml/item5.xml"/><Relationship Id="rId90" Type="http://schemas.openxmlformats.org/officeDocument/2006/relationships/slide" Target="slides/slide72.xml"/><Relationship Id="rId95" Type="http://schemas.openxmlformats.org/officeDocument/2006/relationships/tags" Target="tags/tag1.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customXml" Target="../customXml/item12.xml"/><Relationship Id="rId17" Type="http://schemas.openxmlformats.org/officeDocument/2006/relationships/slideMaster" Target="slideMasters/slideMaster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Hord" userId="7478402321db30a2" providerId="LiveId" clId="{237E8269-A5DC-4CF3-BDD6-E5049504F31C}"/>
    <pc:docChg chg="undo modSld">
      <pc:chgData name="Steve Hord" userId="7478402321db30a2" providerId="LiveId" clId="{237E8269-A5DC-4CF3-BDD6-E5049504F31C}" dt="2020-04-20T22:22:55.889" v="386" actId="20577"/>
      <pc:docMkLst>
        <pc:docMk/>
      </pc:docMkLst>
      <pc:sldChg chg="modNotesTx">
        <pc:chgData name="Steve Hord" userId="7478402321db30a2" providerId="LiveId" clId="{237E8269-A5DC-4CF3-BDD6-E5049504F31C}" dt="2020-04-17T19:55:27.637" v="61" actId="114"/>
        <pc:sldMkLst>
          <pc:docMk/>
          <pc:sldMk cId="4267675391" sldId="531"/>
        </pc:sldMkLst>
      </pc:sldChg>
      <pc:sldChg chg="modSp">
        <pc:chgData name="Steve Hord" userId="7478402321db30a2" providerId="LiveId" clId="{237E8269-A5DC-4CF3-BDD6-E5049504F31C}" dt="2020-04-17T19:57:35.236" v="65" actId="255"/>
        <pc:sldMkLst>
          <pc:docMk/>
          <pc:sldMk cId="2980146838" sldId="560"/>
        </pc:sldMkLst>
        <pc:spChg chg="mod">
          <ac:chgData name="Steve Hord" userId="7478402321db30a2" providerId="LiveId" clId="{237E8269-A5DC-4CF3-BDD6-E5049504F31C}" dt="2020-04-17T19:57:35.236" v="65" actId="255"/>
          <ac:spMkLst>
            <pc:docMk/>
            <pc:sldMk cId="2980146838" sldId="560"/>
            <ac:spMk id="2" creationId="{4615BB0C-211A-4A6B-A4FE-D9C725309C49}"/>
          </ac:spMkLst>
        </pc:spChg>
      </pc:sldChg>
      <pc:sldChg chg="modSp">
        <pc:chgData name="Steve Hord" userId="7478402321db30a2" providerId="LiveId" clId="{237E8269-A5DC-4CF3-BDD6-E5049504F31C}" dt="2020-04-17T19:59:35.485" v="66" actId="2711"/>
        <pc:sldMkLst>
          <pc:docMk/>
          <pc:sldMk cId="3735096506" sldId="563"/>
        </pc:sldMkLst>
        <pc:spChg chg="mod">
          <ac:chgData name="Steve Hord" userId="7478402321db30a2" providerId="LiveId" clId="{237E8269-A5DC-4CF3-BDD6-E5049504F31C}" dt="2020-04-17T19:59:35.485" v="66" actId="2711"/>
          <ac:spMkLst>
            <pc:docMk/>
            <pc:sldMk cId="3735096506" sldId="563"/>
            <ac:spMk id="6" creationId="{FC3BEF4C-2CE2-4542-8E74-48FE34AC9EA6}"/>
          </ac:spMkLst>
        </pc:spChg>
      </pc:sldChg>
      <pc:sldChg chg="modSp">
        <pc:chgData name="Steve Hord" userId="7478402321db30a2" providerId="LiveId" clId="{237E8269-A5DC-4CF3-BDD6-E5049504F31C}" dt="2020-04-17T20:01:22.697" v="70" actId="20577"/>
        <pc:sldMkLst>
          <pc:docMk/>
          <pc:sldMk cId="2034824179" sldId="565"/>
        </pc:sldMkLst>
        <pc:spChg chg="mod">
          <ac:chgData name="Steve Hord" userId="7478402321db30a2" providerId="LiveId" clId="{237E8269-A5DC-4CF3-BDD6-E5049504F31C}" dt="2020-04-17T20:01:22.697" v="70" actId="20577"/>
          <ac:spMkLst>
            <pc:docMk/>
            <pc:sldMk cId="2034824179" sldId="565"/>
            <ac:spMk id="5" creationId="{55182462-DFDF-4D48-A92C-42FD52821C4E}"/>
          </ac:spMkLst>
        </pc:spChg>
      </pc:sldChg>
      <pc:sldChg chg="modSp">
        <pc:chgData name="Steve Hord" userId="7478402321db30a2" providerId="LiveId" clId="{237E8269-A5DC-4CF3-BDD6-E5049504F31C}" dt="2020-04-20T16:59:52.767" v="106" actId="20577"/>
        <pc:sldMkLst>
          <pc:docMk/>
          <pc:sldMk cId="4221783869" sldId="566"/>
        </pc:sldMkLst>
        <pc:spChg chg="mod">
          <ac:chgData name="Steve Hord" userId="7478402321db30a2" providerId="LiveId" clId="{237E8269-A5DC-4CF3-BDD6-E5049504F31C}" dt="2020-04-20T16:59:52.767" v="106" actId="20577"/>
          <ac:spMkLst>
            <pc:docMk/>
            <pc:sldMk cId="4221783869" sldId="566"/>
            <ac:spMk id="12" creationId="{EC097085-5D53-4988-A8EB-A296FFDDC213}"/>
          </ac:spMkLst>
        </pc:spChg>
      </pc:sldChg>
      <pc:sldChg chg="modSp">
        <pc:chgData name="Steve Hord" userId="7478402321db30a2" providerId="LiveId" clId="{237E8269-A5DC-4CF3-BDD6-E5049504F31C}" dt="2020-04-20T17:46:40.089" v="159" actId="255"/>
        <pc:sldMkLst>
          <pc:docMk/>
          <pc:sldMk cId="670385602" sldId="567"/>
        </pc:sldMkLst>
        <pc:spChg chg="mod">
          <ac:chgData name="Steve Hord" userId="7478402321db30a2" providerId="LiveId" clId="{237E8269-A5DC-4CF3-BDD6-E5049504F31C}" dt="2020-04-20T17:46:40.089" v="159" actId="255"/>
          <ac:spMkLst>
            <pc:docMk/>
            <pc:sldMk cId="670385602" sldId="567"/>
            <ac:spMk id="6" creationId="{637E159C-9ACF-48AE-927A-D5FB13695C7F}"/>
          </ac:spMkLst>
        </pc:spChg>
      </pc:sldChg>
      <pc:sldChg chg="modNotesTx">
        <pc:chgData name="Steve Hord" userId="7478402321db30a2" providerId="LiveId" clId="{237E8269-A5DC-4CF3-BDD6-E5049504F31C}" dt="2020-04-20T17:47:23.752" v="160" actId="20577"/>
        <pc:sldMkLst>
          <pc:docMk/>
          <pc:sldMk cId="2147177822" sldId="568"/>
        </pc:sldMkLst>
      </pc:sldChg>
      <pc:sldChg chg="modSp">
        <pc:chgData name="Steve Hord" userId="7478402321db30a2" providerId="LiveId" clId="{237E8269-A5DC-4CF3-BDD6-E5049504F31C}" dt="2020-04-20T17:48:19.711" v="161" actId="255"/>
        <pc:sldMkLst>
          <pc:docMk/>
          <pc:sldMk cId="1617064737" sldId="569"/>
        </pc:sldMkLst>
        <pc:spChg chg="mod">
          <ac:chgData name="Steve Hord" userId="7478402321db30a2" providerId="LiveId" clId="{237E8269-A5DC-4CF3-BDD6-E5049504F31C}" dt="2020-04-20T17:48:19.711" v="161" actId="255"/>
          <ac:spMkLst>
            <pc:docMk/>
            <pc:sldMk cId="1617064737" sldId="569"/>
            <ac:spMk id="2" creationId="{4615BB0C-211A-4A6B-A4FE-D9C725309C49}"/>
          </ac:spMkLst>
        </pc:spChg>
      </pc:sldChg>
      <pc:sldChg chg="modSp">
        <pc:chgData name="Steve Hord" userId="7478402321db30a2" providerId="LiveId" clId="{237E8269-A5DC-4CF3-BDD6-E5049504F31C}" dt="2020-04-20T17:49:18.853" v="164" actId="255"/>
        <pc:sldMkLst>
          <pc:docMk/>
          <pc:sldMk cId="2346840044" sldId="570"/>
        </pc:sldMkLst>
        <pc:spChg chg="mod">
          <ac:chgData name="Steve Hord" userId="7478402321db30a2" providerId="LiveId" clId="{237E8269-A5DC-4CF3-BDD6-E5049504F31C}" dt="2020-04-20T17:48:57.393" v="162" actId="255"/>
          <ac:spMkLst>
            <pc:docMk/>
            <pc:sldMk cId="2346840044" sldId="570"/>
            <ac:spMk id="5" creationId="{379FC580-21BA-42EC-90DC-DE05420C7869}"/>
          </ac:spMkLst>
        </pc:spChg>
        <pc:spChg chg="mod">
          <ac:chgData name="Steve Hord" userId="7478402321db30a2" providerId="LiveId" clId="{237E8269-A5DC-4CF3-BDD6-E5049504F31C}" dt="2020-04-20T17:49:07.377" v="163" actId="255"/>
          <ac:spMkLst>
            <pc:docMk/>
            <pc:sldMk cId="2346840044" sldId="570"/>
            <ac:spMk id="6" creationId="{DA765735-F1DC-4D15-BF81-817D7DFE9E9C}"/>
          </ac:spMkLst>
        </pc:spChg>
        <pc:spChg chg="mod">
          <ac:chgData name="Steve Hord" userId="7478402321db30a2" providerId="LiveId" clId="{237E8269-A5DC-4CF3-BDD6-E5049504F31C}" dt="2020-04-20T17:49:18.853" v="164" actId="255"/>
          <ac:spMkLst>
            <pc:docMk/>
            <pc:sldMk cId="2346840044" sldId="570"/>
            <ac:spMk id="7" creationId="{CFECCCCC-FEFA-494E-A997-8525DD6969C4}"/>
          </ac:spMkLst>
        </pc:spChg>
      </pc:sldChg>
      <pc:sldChg chg="modSp">
        <pc:chgData name="Steve Hord" userId="7478402321db30a2" providerId="LiveId" clId="{237E8269-A5DC-4CF3-BDD6-E5049504F31C}" dt="2020-04-20T17:50:34.758" v="170" actId="20577"/>
        <pc:sldMkLst>
          <pc:docMk/>
          <pc:sldMk cId="2314306782" sldId="572"/>
        </pc:sldMkLst>
        <pc:spChg chg="mod">
          <ac:chgData name="Steve Hord" userId="7478402321db30a2" providerId="LiveId" clId="{237E8269-A5DC-4CF3-BDD6-E5049504F31C}" dt="2020-04-20T17:50:34.758" v="170" actId="20577"/>
          <ac:spMkLst>
            <pc:docMk/>
            <pc:sldMk cId="2314306782" sldId="572"/>
            <ac:spMk id="5" creationId="{55182462-DFDF-4D48-A92C-42FD52821C4E}"/>
          </ac:spMkLst>
        </pc:spChg>
      </pc:sldChg>
      <pc:sldChg chg="modSp modNotesTx">
        <pc:chgData name="Steve Hord" userId="7478402321db30a2" providerId="LiveId" clId="{237E8269-A5DC-4CF3-BDD6-E5049504F31C}" dt="2020-04-20T18:08:35.259" v="189" actId="113"/>
        <pc:sldMkLst>
          <pc:docMk/>
          <pc:sldMk cId="4248838292" sldId="573"/>
        </pc:sldMkLst>
        <pc:graphicFrameChg chg="mod">
          <ac:chgData name="Steve Hord" userId="7478402321db30a2" providerId="LiveId" clId="{237E8269-A5DC-4CF3-BDD6-E5049504F31C}" dt="2020-04-20T17:52:11.718" v="175" actId="20577"/>
          <ac:graphicFrameMkLst>
            <pc:docMk/>
            <pc:sldMk cId="4248838292" sldId="573"/>
            <ac:graphicFrameMk id="9" creationId="{064B38ED-22CB-4783-9539-5965103DA75C}"/>
          </ac:graphicFrameMkLst>
        </pc:graphicFrameChg>
      </pc:sldChg>
      <pc:sldChg chg="modNotesTx">
        <pc:chgData name="Steve Hord" userId="7478402321db30a2" providerId="LiveId" clId="{237E8269-A5DC-4CF3-BDD6-E5049504F31C}" dt="2020-04-20T20:52:22.422" v="244" actId="114"/>
        <pc:sldMkLst>
          <pc:docMk/>
          <pc:sldMk cId="1487953619" sldId="574"/>
        </pc:sldMkLst>
      </pc:sldChg>
      <pc:sldChg chg="modSp">
        <pc:chgData name="Steve Hord" userId="7478402321db30a2" providerId="LiveId" clId="{237E8269-A5DC-4CF3-BDD6-E5049504F31C}" dt="2020-04-20T20:52:44.315" v="245" actId="255"/>
        <pc:sldMkLst>
          <pc:docMk/>
          <pc:sldMk cId="1775931326" sldId="576"/>
        </pc:sldMkLst>
        <pc:spChg chg="mod">
          <ac:chgData name="Steve Hord" userId="7478402321db30a2" providerId="LiveId" clId="{237E8269-A5DC-4CF3-BDD6-E5049504F31C}" dt="2020-04-20T20:52:44.315" v="245" actId="255"/>
          <ac:spMkLst>
            <pc:docMk/>
            <pc:sldMk cId="1775931326" sldId="576"/>
            <ac:spMk id="2" creationId="{4615BB0C-211A-4A6B-A4FE-D9C725309C49}"/>
          </ac:spMkLst>
        </pc:spChg>
      </pc:sldChg>
      <pc:sldChg chg="modSp modNotesTx">
        <pc:chgData name="Steve Hord" userId="7478402321db30a2" providerId="LiveId" clId="{237E8269-A5DC-4CF3-BDD6-E5049504F31C}" dt="2020-04-20T20:55:22.495" v="253" actId="20577"/>
        <pc:sldMkLst>
          <pc:docMk/>
          <pc:sldMk cId="4206133277" sldId="577"/>
        </pc:sldMkLst>
        <pc:graphicFrameChg chg="mod">
          <ac:chgData name="Steve Hord" userId="7478402321db30a2" providerId="LiveId" clId="{237E8269-A5DC-4CF3-BDD6-E5049504F31C}" dt="2020-04-20T20:54:04.579" v="249" actId="255"/>
          <ac:graphicFrameMkLst>
            <pc:docMk/>
            <pc:sldMk cId="4206133277" sldId="577"/>
            <ac:graphicFrameMk id="3" creationId="{9484E1FE-7534-495E-863C-657A46F5E628}"/>
          </ac:graphicFrameMkLst>
        </pc:graphicFrameChg>
      </pc:sldChg>
      <pc:sldChg chg="modSp">
        <pc:chgData name="Steve Hord" userId="7478402321db30a2" providerId="LiveId" clId="{237E8269-A5DC-4CF3-BDD6-E5049504F31C}" dt="2020-04-20T20:56:37.874" v="271" actId="20577"/>
        <pc:sldMkLst>
          <pc:docMk/>
          <pc:sldMk cId="3424530645" sldId="579"/>
        </pc:sldMkLst>
        <pc:spChg chg="mod">
          <ac:chgData name="Steve Hord" userId="7478402321db30a2" providerId="LiveId" clId="{237E8269-A5DC-4CF3-BDD6-E5049504F31C}" dt="2020-04-20T20:56:37.874" v="271" actId="20577"/>
          <ac:spMkLst>
            <pc:docMk/>
            <pc:sldMk cId="3424530645" sldId="579"/>
            <ac:spMk id="5" creationId="{55182462-DFDF-4D48-A92C-42FD52821C4E}"/>
          </ac:spMkLst>
        </pc:spChg>
      </pc:sldChg>
      <pc:sldChg chg="modSp">
        <pc:chgData name="Steve Hord" userId="7478402321db30a2" providerId="LiveId" clId="{237E8269-A5DC-4CF3-BDD6-E5049504F31C}" dt="2020-04-20T21:12:05.683" v="282" actId="255"/>
        <pc:sldMkLst>
          <pc:docMk/>
          <pc:sldMk cId="376975876" sldId="583"/>
        </pc:sldMkLst>
        <pc:spChg chg="mod">
          <ac:chgData name="Steve Hord" userId="7478402321db30a2" providerId="LiveId" clId="{237E8269-A5DC-4CF3-BDD6-E5049504F31C}" dt="2020-04-20T21:12:05.683" v="282" actId="255"/>
          <ac:spMkLst>
            <pc:docMk/>
            <pc:sldMk cId="376975876" sldId="583"/>
            <ac:spMk id="2" creationId="{4615BB0C-211A-4A6B-A4FE-D9C725309C49}"/>
          </ac:spMkLst>
        </pc:spChg>
      </pc:sldChg>
      <pc:sldChg chg="modSp">
        <pc:chgData name="Steve Hord" userId="7478402321db30a2" providerId="LiveId" clId="{237E8269-A5DC-4CF3-BDD6-E5049504F31C}" dt="2020-04-20T21:13:13.149" v="285" actId="255"/>
        <pc:sldMkLst>
          <pc:docMk/>
          <pc:sldMk cId="2444463328" sldId="584"/>
        </pc:sldMkLst>
        <pc:spChg chg="mod">
          <ac:chgData name="Steve Hord" userId="7478402321db30a2" providerId="LiveId" clId="{237E8269-A5DC-4CF3-BDD6-E5049504F31C}" dt="2020-04-20T21:12:48.508" v="283" actId="255"/>
          <ac:spMkLst>
            <pc:docMk/>
            <pc:sldMk cId="2444463328" sldId="584"/>
            <ac:spMk id="5" creationId="{CEC93444-3659-40AA-8D2C-B80A85409815}"/>
          </ac:spMkLst>
        </pc:spChg>
        <pc:spChg chg="mod">
          <ac:chgData name="Steve Hord" userId="7478402321db30a2" providerId="LiveId" clId="{237E8269-A5DC-4CF3-BDD6-E5049504F31C}" dt="2020-04-20T21:13:00.860" v="284" actId="255"/>
          <ac:spMkLst>
            <pc:docMk/>
            <pc:sldMk cId="2444463328" sldId="584"/>
            <ac:spMk id="6" creationId="{DC3A2B63-365A-40E2-BD2E-D66E786B42E0}"/>
          </ac:spMkLst>
        </pc:spChg>
        <pc:spChg chg="mod">
          <ac:chgData name="Steve Hord" userId="7478402321db30a2" providerId="LiveId" clId="{237E8269-A5DC-4CF3-BDD6-E5049504F31C}" dt="2020-04-20T21:13:13.149" v="285" actId="255"/>
          <ac:spMkLst>
            <pc:docMk/>
            <pc:sldMk cId="2444463328" sldId="584"/>
            <ac:spMk id="7" creationId="{A56FD9FB-03D2-4F41-A01E-CCEC768B5BA0}"/>
          </ac:spMkLst>
        </pc:spChg>
      </pc:sldChg>
      <pc:sldChg chg="modSp">
        <pc:chgData name="Steve Hord" userId="7478402321db30a2" providerId="LiveId" clId="{237E8269-A5DC-4CF3-BDD6-E5049504F31C}" dt="2020-04-20T21:14:47.908" v="289" actId="20577"/>
        <pc:sldMkLst>
          <pc:docMk/>
          <pc:sldMk cId="3258136525" sldId="586"/>
        </pc:sldMkLst>
        <pc:spChg chg="mod">
          <ac:chgData name="Steve Hord" userId="7478402321db30a2" providerId="LiveId" clId="{237E8269-A5DC-4CF3-BDD6-E5049504F31C}" dt="2020-04-20T21:14:47.908" v="289" actId="20577"/>
          <ac:spMkLst>
            <pc:docMk/>
            <pc:sldMk cId="3258136525" sldId="586"/>
            <ac:spMk id="5" creationId="{55182462-DFDF-4D48-A92C-42FD52821C4E}"/>
          </ac:spMkLst>
        </pc:spChg>
      </pc:sldChg>
      <pc:sldChg chg="modSp modNotesTx">
        <pc:chgData name="Steve Hord" userId="7478402321db30a2" providerId="LiveId" clId="{237E8269-A5DC-4CF3-BDD6-E5049504F31C}" dt="2020-04-20T22:01:08.706" v="338" actId="20577"/>
        <pc:sldMkLst>
          <pc:docMk/>
          <pc:sldMk cId="1635185343" sldId="587"/>
        </pc:sldMkLst>
        <pc:graphicFrameChg chg="mod">
          <ac:chgData name="Steve Hord" userId="7478402321db30a2" providerId="LiveId" clId="{237E8269-A5DC-4CF3-BDD6-E5049504F31C}" dt="2020-04-20T21:58:28.219" v="328" actId="20577"/>
          <ac:graphicFrameMkLst>
            <pc:docMk/>
            <pc:sldMk cId="1635185343" sldId="587"/>
            <ac:graphicFrameMk id="4" creationId="{5EB67473-B9AC-42FF-84B1-0BB13E3BE1FF}"/>
          </ac:graphicFrameMkLst>
        </pc:graphicFrameChg>
      </pc:sldChg>
      <pc:sldChg chg="modNotesTx">
        <pc:chgData name="Steve Hord" userId="7478402321db30a2" providerId="LiveId" clId="{237E8269-A5DC-4CF3-BDD6-E5049504F31C}" dt="2020-04-20T22:17:40.485" v="371" actId="114"/>
        <pc:sldMkLst>
          <pc:docMk/>
          <pc:sldMk cId="1564438252" sldId="588"/>
        </pc:sldMkLst>
      </pc:sldChg>
      <pc:sldChg chg="modSp">
        <pc:chgData name="Steve Hord" userId="7478402321db30a2" providerId="LiveId" clId="{237E8269-A5DC-4CF3-BDD6-E5049504F31C}" dt="2020-04-20T22:20:04.617" v="381" actId="255"/>
        <pc:sldMkLst>
          <pc:docMk/>
          <pc:sldMk cId="1844966639" sldId="590"/>
        </pc:sldMkLst>
        <pc:spChg chg="mod">
          <ac:chgData name="Steve Hord" userId="7478402321db30a2" providerId="LiveId" clId="{237E8269-A5DC-4CF3-BDD6-E5049504F31C}" dt="2020-04-20T22:20:04.617" v="381" actId="255"/>
          <ac:spMkLst>
            <pc:docMk/>
            <pc:sldMk cId="1844966639" sldId="590"/>
            <ac:spMk id="2" creationId="{4615BB0C-211A-4A6B-A4FE-D9C725309C49}"/>
          </ac:spMkLst>
        </pc:spChg>
      </pc:sldChg>
      <pc:sldChg chg="modSp modNotesTx">
        <pc:chgData name="Steve Hord" userId="7478402321db30a2" providerId="LiveId" clId="{237E8269-A5DC-4CF3-BDD6-E5049504F31C}" dt="2020-04-20T22:22:55.889" v="386" actId="20577"/>
        <pc:sldMkLst>
          <pc:docMk/>
          <pc:sldMk cId="1737290916" sldId="591"/>
        </pc:sldMkLst>
        <pc:spChg chg="mod">
          <ac:chgData name="Steve Hord" userId="7478402321db30a2" providerId="LiveId" clId="{237E8269-A5DC-4CF3-BDD6-E5049504F31C}" dt="2020-04-20T22:20:51.369" v="382" actId="255"/>
          <ac:spMkLst>
            <pc:docMk/>
            <pc:sldMk cId="1737290916" sldId="591"/>
            <ac:spMk id="5" creationId="{2DA8BFE6-63E8-44C9-98B4-FE59948F9D64}"/>
          </ac:spMkLst>
        </pc:spChg>
        <pc:spChg chg="mod">
          <ac:chgData name="Steve Hord" userId="7478402321db30a2" providerId="LiveId" clId="{237E8269-A5DC-4CF3-BDD6-E5049504F31C}" dt="2020-04-20T22:21:00.912" v="383" actId="255"/>
          <ac:spMkLst>
            <pc:docMk/>
            <pc:sldMk cId="1737290916" sldId="591"/>
            <ac:spMk id="6" creationId="{237EAD4B-241F-4199-85D9-C2CB2189E465}"/>
          </ac:spMkLst>
        </pc:spChg>
        <pc:spChg chg="mod">
          <ac:chgData name="Steve Hord" userId="7478402321db30a2" providerId="LiveId" clId="{237E8269-A5DC-4CF3-BDD6-E5049504F31C}" dt="2020-04-20T22:21:16.737" v="384" actId="255"/>
          <ac:spMkLst>
            <pc:docMk/>
            <pc:sldMk cId="1737290916" sldId="591"/>
            <ac:spMk id="7" creationId="{3BB1B8AF-5295-4D0C-8C03-B4CAC7E2587F}"/>
          </ac:spMkLst>
        </pc:spChg>
        <pc:spChg chg="mod">
          <ac:chgData name="Steve Hord" userId="7478402321db30a2" providerId="LiveId" clId="{237E8269-A5DC-4CF3-BDD6-E5049504F31C}" dt="2020-04-20T22:21:36.922" v="385" actId="255"/>
          <ac:spMkLst>
            <pc:docMk/>
            <pc:sldMk cId="1737290916" sldId="591"/>
            <ac:spMk id="8" creationId="{53F80485-B9E1-4870-8F91-0B3B4FBC4CEB}"/>
          </ac:spMkLst>
        </pc:spChg>
      </pc:sldChg>
      <pc:sldChg chg="modSp modNotesTx">
        <pc:chgData name="Steve Hord" userId="7478402321db30a2" providerId="LiveId" clId="{237E8269-A5DC-4CF3-BDD6-E5049504F31C}" dt="2020-04-20T18:13:05.763" v="196" actId="20577"/>
        <pc:sldMkLst>
          <pc:docMk/>
          <pc:sldMk cId="4116196337" sldId="597"/>
        </pc:sldMkLst>
        <pc:graphicFrameChg chg="mod">
          <ac:chgData name="Steve Hord" userId="7478402321db30a2" providerId="LiveId" clId="{237E8269-A5DC-4CF3-BDD6-E5049504F31C}" dt="2020-04-20T18:09:28.474" v="194" actId="20577"/>
          <ac:graphicFrameMkLst>
            <pc:docMk/>
            <pc:sldMk cId="4116196337" sldId="597"/>
            <ac:graphicFrameMk id="5" creationId="{78BFB731-FB43-4ACF-BB33-E13D7229B2EF}"/>
          </ac:graphicFrameMkLst>
        </pc:graphicFrameChg>
      </pc:sldChg>
      <pc:sldChg chg="modSp modNotesTx">
        <pc:chgData name="Steve Hord" userId="7478402321db30a2" providerId="LiveId" clId="{237E8269-A5DC-4CF3-BDD6-E5049504F31C}" dt="2020-04-17T19:14:22.077" v="19" actId="2711"/>
        <pc:sldMkLst>
          <pc:docMk/>
          <pc:sldMk cId="883934879" sldId="598"/>
        </pc:sldMkLst>
        <pc:spChg chg="mod">
          <ac:chgData name="Steve Hord" userId="7478402321db30a2" providerId="LiveId" clId="{237E8269-A5DC-4CF3-BDD6-E5049504F31C}" dt="2020-04-17T19:09:25.582" v="18" actId="2711"/>
          <ac:spMkLst>
            <pc:docMk/>
            <pc:sldMk cId="883934879" sldId="598"/>
            <ac:spMk id="5" creationId="{38BC5BF7-E42F-4CF1-9D6E-F356CAE3D8BE}"/>
          </ac:spMkLst>
        </pc:spChg>
        <pc:graphicFrameChg chg="mod">
          <ac:chgData name="Steve Hord" userId="7478402321db30a2" providerId="LiveId" clId="{237E8269-A5DC-4CF3-BDD6-E5049504F31C}" dt="2020-04-17T19:08:47.357" v="17" actId="255"/>
          <ac:graphicFrameMkLst>
            <pc:docMk/>
            <pc:sldMk cId="883934879" sldId="598"/>
            <ac:graphicFrameMk id="6" creationId="{F51B4517-2B82-4973-8EDD-74FA4FBD904D}"/>
          </ac:graphicFrameMkLst>
        </pc:graphicFrameChg>
      </pc:sldChg>
      <pc:sldChg chg="modNotesTx">
        <pc:chgData name="Steve Hord" userId="7478402321db30a2" providerId="LiveId" clId="{237E8269-A5DC-4CF3-BDD6-E5049504F31C}" dt="2020-04-20T18:19:14.184" v="207" actId="20577"/>
        <pc:sldMkLst>
          <pc:docMk/>
          <pc:sldMk cId="1416701595" sldId="599"/>
        </pc:sldMkLst>
      </pc:sldChg>
      <pc:sldChg chg="modNotesTx">
        <pc:chgData name="Steve Hord" userId="7478402321db30a2" providerId="LiveId" clId="{237E8269-A5DC-4CF3-BDD6-E5049504F31C}" dt="2020-04-20T20:49:48.332" v="243" actId="2711"/>
        <pc:sldMkLst>
          <pc:docMk/>
          <pc:sldMk cId="665599931" sldId="600"/>
        </pc:sldMkLst>
      </pc:sldChg>
      <pc:sldChg chg="modNotesTx">
        <pc:chgData name="Steve Hord" userId="7478402321db30a2" providerId="LiveId" clId="{237E8269-A5DC-4CF3-BDD6-E5049504F31C}" dt="2020-04-20T18:22:39.977" v="214" actId="20577"/>
        <pc:sldMkLst>
          <pc:docMk/>
          <pc:sldMk cId="72948517" sldId="1544"/>
        </pc:sldMkLst>
      </pc:sldChg>
      <pc:sldChg chg="modSp modNotesTx">
        <pc:chgData name="Steve Hord" userId="7478402321db30a2" providerId="LiveId" clId="{237E8269-A5DC-4CF3-BDD6-E5049504F31C}" dt="2020-04-20T20:42:21.883" v="228" actId="20577"/>
        <pc:sldMkLst>
          <pc:docMk/>
          <pc:sldMk cId="3603089502" sldId="1545"/>
        </pc:sldMkLst>
        <pc:graphicFrameChg chg="mod">
          <ac:chgData name="Steve Hord" userId="7478402321db30a2" providerId="LiveId" clId="{237E8269-A5DC-4CF3-BDD6-E5049504F31C}" dt="2020-04-20T20:38:57.316" v="216" actId="20577"/>
          <ac:graphicFrameMkLst>
            <pc:docMk/>
            <pc:sldMk cId="3603089502" sldId="1545"/>
            <ac:graphicFrameMk id="6" creationId="{B8E9BD94-A1FC-4D94-B4ED-FC3A51FA4D9A}"/>
          </ac:graphicFrameMkLst>
        </pc:graphicFrameChg>
      </pc:sldChg>
      <pc:sldChg chg="modSp">
        <pc:chgData name="Steve Hord" userId="7478402321db30a2" providerId="LiveId" clId="{237E8269-A5DC-4CF3-BDD6-E5049504F31C}" dt="2020-04-20T20:46:04.717" v="235" actId="2711"/>
        <pc:sldMkLst>
          <pc:docMk/>
          <pc:sldMk cId="1844264441" sldId="1546"/>
        </pc:sldMkLst>
        <pc:spChg chg="mod">
          <ac:chgData name="Steve Hord" userId="7478402321db30a2" providerId="LiveId" clId="{237E8269-A5DC-4CF3-BDD6-E5049504F31C}" dt="2020-04-20T20:45:37.994" v="234" actId="20577"/>
          <ac:spMkLst>
            <pc:docMk/>
            <pc:sldMk cId="1844264441" sldId="1546"/>
            <ac:spMk id="4" creationId="{F3616A99-090F-45E1-9334-58D58B148205}"/>
          </ac:spMkLst>
        </pc:spChg>
        <pc:spChg chg="mod">
          <ac:chgData name="Steve Hord" userId="7478402321db30a2" providerId="LiveId" clId="{237E8269-A5DC-4CF3-BDD6-E5049504F31C}" dt="2020-04-20T20:46:04.717" v="235" actId="2711"/>
          <ac:spMkLst>
            <pc:docMk/>
            <pc:sldMk cId="1844264441" sldId="1546"/>
            <ac:spMk id="5" creationId="{7C684229-8F9E-4FE4-BEB3-C74B8A73A42F}"/>
          </ac:spMkLst>
        </pc:spChg>
      </pc:sldChg>
      <pc:sldChg chg="modSp">
        <pc:chgData name="Steve Hord" userId="7478402321db30a2" providerId="LiveId" clId="{237E8269-A5DC-4CF3-BDD6-E5049504F31C}" dt="2020-04-17T18:59:01.281" v="3" actId="20577"/>
        <pc:sldMkLst>
          <pc:docMk/>
          <pc:sldMk cId="2898897673" sldId="1549"/>
        </pc:sldMkLst>
        <pc:spChg chg="mod">
          <ac:chgData name="Steve Hord" userId="7478402321db30a2" providerId="LiveId" clId="{237E8269-A5DC-4CF3-BDD6-E5049504F31C}" dt="2020-04-17T18:59:01.281" v="3" actId="20577"/>
          <ac:spMkLst>
            <pc:docMk/>
            <pc:sldMk cId="2898897673" sldId="1549"/>
            <ac:spMk id="5" creationId="{55182462-DFDF-4D48-A92C-42FD52821C4E}"/>
          </ac:spMkLst>
        </pc:spChg>
      </pc:sldChg>
      <pc:sldChg chg="modSp">
        <pc:chgData name="Steve Hord" userId="7478402321db30a2" providerId="LiveId" clId="{237E8269-A5DC-4CF3-BDD6-E5049504F31C}" dt="2020-04-17T19:14:47.019" v="20" actId="20577"/>
        <pc:sldMkLst>
          <pc:docMk/>
          <pc:sldMk cId="2591313168" sldId="1551"/>
        </pc:sldMkLst>
        <pc:spChg chg="mod">
          <ac:chgData name="Steve Hord" userId="7478402321db30a2" providerId="LiveId" clId="{237E8269-A5DC-4CF3-BDD6-E5049504F31C}" dt="2020-04-17T19:14:47.019" v="20" actId="20577"/>
          <ac:spMkLst>
            <pc:docMk/>
            <pc:sldMk cId="2591313168" sldId="1551"/>
            <ac:spMk id="3" creationId="{F35E8CBB-5A7D-4DEF-BAF7-8DD5D042F9E0}"/>
          </ac:spMkLst>
        </pc:spChg>
      </pc:sldChg>
      <pc:sldChg chg="modNotesTx">
        <pc:chgData name="Steve Hord" userId="7478402321db30a2" providerId="LiveId" clId="{237E8269-A5DC-4CF3-BDD6-E5049504F31C}" dt="2020-04-17T19:45:36.126" v="42" actId="6549"/>
        <pc:sldMkLst>
          <pc:docMk/>
          <pc:sldMk cId="2678916652" sldId="1553"/>
        </pc:sldMkLst>
      </pc:sldChg>
      <pc:sldChg chg="modSp modNotesTx">
        <pc:chgData name="Steve Hord" userId="7478402321db30a2" providerId="LiveId" clId="{237E8269-A5DC-4CF3-BDD6-E5049504F31C}" dt="2020-04-17T19:49:00.853" v="47" actId="2711"/>
        <pc:sldMkLst>
          <pc:docMk/>
          <pc:sldMk cId="3965515432" sldId="1554"/>
        </pc:sldMkLst>
        <pc:spChg chg="mod">
          <ac:chgData name="Steve Hord" userId="7478402321db30a2" providerId="LiveId" clId="{237E8269-A5DC-4CF3-BDD6-E5049504F31C}" dt="2020-04-17T19:46:29.558" v="43" actId="2711"/>
          <ac:spMkLst>
            <pc:docMk/>
            <pc:sldMk cId="3965515432" sldId="1554"/>
            <ac:spMk id="6" creationId="{664783E4-7D4D-4C6D-A1CE-9C1363D03754}"/>
          </ac:spMkLst>
        </pc:spChg>
      </pc:sldChg>
      <pc:sldChg chg="modNotesTx">
        <pc:chgData name="Steve Hord" userId="7478402321db30a2" providerId="LiveId" clId="{237E8269-A5DC-4CF3-BDD6-E5049504F31C}" dt="2020-04-17T19:53:08.293" v="58" actId="20577"/>
        <pc:sldMkLst>
          <pc:docMk/>
          <pc:sldMk cId="3998312020" sldId="1555"/>
        </pc:sldMkLst>
      </pc:sldChg>
      <pc:sldChg chg="modNotesTx">
        <pc:chgData name="Steve Hord" userId="7478402321db30a2" providerId="LiveId" clId="{237E8269-A5DC-4CF3-BDD6-E5049504F31C}" dt="2020-04-17T19:54:19.242" v="60" actId="6549"/>
        <pc:sldMkLst>
          <pc:docMk/>
          <pc:sldMk cId="3935691718" sldId="1556"/>
        </pc:sldMkLst>
      </pc:sldChg>
      <pc:sldChg chg="modSp modNotesTx">
        <pc:chgData name="Steve Hord" userId="7478402321db30a2" providerId="LiveId" clId="{237E8269-A5DC-4CF3-BDD6-E5049504F31C}" dt="2020-04-20T16:53:01.900" v="93" actId="20577"/>
        <pc:sldMkLst>
          <pc:docMk/>
          <pc:sldMk cId="1161100183" sldId="1561"/>
        </pc:sldMkLst>
        <pc:spChg chg="mod">
          <ac:chgData name="Steve Hord" userId="7478402321db30a2" providerId="LiveId" clId="{237E8269-A5DC-4CF3-BDD6-E5049504F31C}" dt="2020-04-20T16:48:44.689" v="72" actId="20577"/>
          <ac:spMkLst>
            <pc:docMk/>
            <pc:sldMk cId="1161100183" sldId="1561"/>
            <ac:spMk id="9" creationId="{7A5C2254-6D74-422B-AC35-7047C6B6CBFD}"/>
          </ac:spMkLst>
        </pc:spChg>
        <pc:spChg chg="mod">
          <ac:chgData name="Steve Hord" userId="7478402321db30a2" providerId="LiveId" clId="{237E8269-A5DC-4CF3-BDD6-E5049504F31C}" dt="2020-04-20T16:49:32.644" v="73" actId="20577"/>
          <ac:spMkLst>
            <pc:docMk/>
            <pc:sldMk cId="1161100183" sldId="1561"/>
            <ac:spMk id="12" creationId="{03D7B4ED-AE1F-42F9-83DF-525625C2EFFC}"/>
          </ac:spMkLst>
        </pc:spChg>
      </pc:sldChg>
      <pc:sldChg chg="modNotesTx">
        <pc:chgData name="Steve Hord" userId="7478402321db30a2" providerId="LiveId" clId="{237E8269-A5DC-4CF3-BDD6-E5049504F31C}" dt="2020-04-20T16:57:57.942" v="97" actId="20577"/>
        <pc:sldMkLst>
          <pc:docMk/>
          <pc:sldMk cId="2098398432" sldId="1565"/>
        </pc:sldMkLst>
      </pc:sldChg>
      <pc:sldChg chg="modNotesTx">
        <pc:chgData name="Steve Hord" userId="7478402321db30a2" providerId="LiveId" clId="{237E8269-A5DC-4CF3-BDD6-E5049504F31C}" dt="2020-04-20T16:59:09.149" v="105" actId="20577"/>
        <pc:sldMkLst>
          <pc:docMk/>
          <pc:sldMk cId="2490951893" sldId="1566"/>
        </pc:sldMkLst>
      </pc:sldChg>
      <pc:sldChg chg="modSp modNotesTx">
        <pc:chgData name="Steve Hord" userId="7478402321db30a2" providerId="LiveId" clId="{237E8269-A5DC-4CF3-BDD6-E5049504F31C}" dt="2020-04-20T17:01:54.595" v="116" actId="20577"/>
        <pc:sldMkLst>
          <pc:docMk/>
          <pc:sldMk cId="2789277589" sldId="1568"/>
        </pc:sldMkLst>
        <pc:spChg chg="mod">
          <ac:chgData name="Steve Hord" userId="7478402321db30a2" providerId="LiveId" clId="{237E8269-A5DC-4CF3-BDD6-E5049504F31C}" dt="2020-04-20T17:00:39.572" v="108" actId="20577"/>
          <ac:spMkLst>
            <pc:docMk/>
            <pc:sldMk cId="2789277589" sldId="1568"/>
            <ac:spMk id="4" creationId="{F3616A99-090F-45E1-9334-58D58B148205}"/>
          </ac:spMkLst>
        </pc:spChg>
        <pc:graphicFrameChg chg="modGraphic">
          <ac:chgData name="Steve Hord" userId="7478402321db30a2" providerId="LiveId" clId="{237E8269-A5DC-4CF3-BDD6-E5049504F31C}" dt="2020-04-20T17:01:24.103" v="115" actId="20577"/>
          <ac:graphicFrameMkLst>
            <pc:docMk/>
            <pc:sldMk cId="2789277589" sldId="1568"/>
            <ac:graphicFrameMk id="5" creationId="{51B292C3-67DC-4879-8690-2437478F401F}"/>
          </ac:graphicFrameMkLst>
        </pc:graphicFrameChg>
      </pc:sldChg>
      <pc:sldChg chg="modSp">
        <pc:chgData name="Steve Hord" userId="7478402321db30a2" providerId="LiveId" clId="{237E8269-A5DC-4CF3-BDD6-E5049504F31C}" dt="2020-04-20T17:04:06.200" v="119" actId="20577"/>
        <pc:sldMkLst>
          <pc:docMk/>
          <pc:sldMk cId="800179642" sldId="1571"/>
        </pc:sldMkLst>
        <pc:spChg chg="mod">
          <ac:chgData name="Steve Hord" userId="7478402321db30a2" providerId="LiveId" clId="{237E8269-A5DC-4CF3-BDD6-E5049504F31C}" dt="2020-04-20T17:04:06.200" v="119" actId="20577"/>
          <ac:spMkLst>
            <pc:docMk/>
            <pc:sldMk cId="800179642" sldId="1571"/>
            <ac:spMk id="4" creationId="{F3616A99-090F-45E1-9334-58D58B148205}"/>
          </ac:spMkLst>
        </pc:spChg>
      </pc:sldChg>
      <pc:sldChg chg="modSp">
        <pc:chgData name="Steve Hord" userId="7478402321db30a2" providerId="LiveId" clId="{237E8269-A5DC-4CF3-BDD6-E5049504F31C}" dt="2020-04-20T17:09:31.725" v="122" actId="20577"/>
        <pc:sldMkLst>
          <pc:docMk/>
          <pc:sldMk cId="1002693369" sldId="1580"/>
        </pc:sldMkLst>
        <pc:spChg chg="mod">
          <ac:chgData name="Steve Hord" userId="7478402321db30a2" providerId="LiveId" clId="{237E8269-A5DC-4CF3-BDD6-E5049504F31C}" dt="2020-04-20T17:09:31.725" v="122" actId="20577"/>
          <ac:spMkLst>
            <pc:docMk/>
            <pc:sldMk cId="1002693369" sldId="1580"/>
            <ac:spMk id="4" creationId="{F3616A99-090F-45E1-9334-58D58B148205}"/>
          </ac:spMkLst>
        </pc:spChg>
      </pc:sldChg>
      <pc:sldChg chg="modSp">
        <pc:chgData name="Steve Hord" userId="7478402321db30a2" providerId="LiveId" clId="{237E8269-A5DC-4CF3-BDD6-E5049504F31C}" dt="2020-04-20T17:10:25.304" v="125" actId="20577"/>
        <pc:sldMkLst>
          <pc:docMk/>
          <pc:sldMk cId="3741286794" sldId="1581"/>
        </pc:sldMkLst>
        <pc:spChg chg="mod">
          <ac:chgData name="Steve Hord" userId="7478402321db30a2" providerId="LiveId" clId="{237E8269-A5DC-4CF3-BDD6-E5049504F31C}" dt="2020-04-20T17:10:25.304" v="125" actId="20577"/>
          <ac:spMkLst>
            <pc:docMk/>
            <pc:sldMk cId="3741286794" sldId="1581"/>
            <ac:spMk id="4" creationId="{F3616A99-090F-45E1-9334-58D58B148205}"/>
          </ac:spMkLst>
        </pc:spChg>
      </pc:sldChg>
      <pc:sldChg chg="modSp modNotesTx">
        <pc:chgData name="Steve Hord" userId="7478402321db30a2" providerId="LiveId" clId="{237E8269-A5DC-4CF3-BDD6-E5049504F31C}" dt="2020-04-20T17:16:48.177" v="135" actId="20577"/>
        <pc:sldMkLst>
          <pc:docMk/>
          <pc:sldMk cId="1719616079" sldId="1582"/>
        </pc:sldMkLst>
        <pc:spChg chg="mod">
          <ac:chgData name="Steve Hord" userId="7478402321db30a2" providerId="LiveId" clId="{237E8269-A5DC-4CF3-BDD6-E5049504F31C}" dt="2020-04-20T17:12:09.094" v="129" actId="20577"/>
          <ac:spMkLst>
            <pc:docMk/>
            <pc:sldMk cId="1719616079" sldId="1582"/>
            <ac:spMk id="4" creationId="{F3616A99-090F-45E1-9334-58D58B148205}"/>
          </ac:spMkLst>
        </pc:spChg>
        <pc:graphicFrameChg chg="modGraphic">
          <ac:chgData name="Steve Hord" userId="7478402321db30a2" providerId="LiveId" clId="{237E8269-A5DC-4CF3-BDD6-E5049504F31C}" dt="2020-04-20T17:12:43.230" v="133" actId="20577"/>
          <ac:graphicFrameMkLst>
            <pc:docMk/>
            <pc:sldMk cId="1719616079" sldId="1582"/>
            <ac:graphicFrameMk id="5" creationId="{9DA613A8-7843-4DC6-B449-9A9544E5201B}"/>
          </ac:graphicFrameMkLst>
        </pc:graphicFrameChg>
      </pc:sldChg>
      <pc:sldChg chg="modSp modNotesTx">
        <pc:chgData name="Steve Hord" userId="7478402321db30a2" providerId="LiveId" clId="{237E8269-A5DC-4CF3-BDD6-E5049504F31C}" dt="2020-04-20T17:23:16.320" v="149" actId="20577"/>
        <pc:sldMkLst>
          <pc:docMk/>
          <pc:sldMk cId="2497101253" sldId="1584"/>
        </pc:sldMkLst>
        <pc:graphicFrameChg chg="modGraphic">
          <ac:chgData name="Steve Hord" userId="7478402321db30a2" providerId="LiveId" clId="{237E8269-A5DC-4CF3-BDD6-E5049504F31C}" dt="2020-04-20T17:20:35.012" v="141" actId="2711"/>
          <ac:graphicFrameMkLst>
            <pc:docMk/>
            <pc:sldMk cId="2497101253" sldId="1584"/>
            <ac:graphicFrameMk id="6" creationId="{10A7B78E-0126-4BF1-8AA4-3638A2CDD6C5}"/>
          </ac:graphicFrameMkLst>
        </pc:graphicFrameChg>
      </pc:sldChg>
      <pc:sldChg chg="modSp">
        <pc:chgData name="Steve Hord" userId="7478402321db30a2" providerId="LiveId" clId="{237E8269-A5DC-4CF3-BDD6-E5049504F31C}" dt="2020-04-20T17:26:03.429" v="153" actId="2711"/>
        <pc:sldMkLst>
          <pc:docMk/>
          <pc:sldMk cId="2725821802" sldId="1585"/>
        </pc:sldMkLst>
        <pc:graphicFrameChg chg="modGraphic">
          <ac:chgData name="Steve Hord" userId="7478402321db30a2" providerId="LiveId" clId="{237E8269-A5DC-4CF3-BDD6-E5049504F31C}" dt="2020-04-20T17:26:03.429" v="153" actId="2711"/>
          <ac:graphicFrameMkLst>
            <pc:docMk/>
            <pc:sldMk cId="2725821802" sldId="1585"/>
            <ac:graphicFrameMk id="5" creationId="{D2A54F6E-1133-4E80-91CE-516078A7D800}"/>
          </ac:graphicFrameMkLst>
        </pc:graphicFrameChg>
      </pc:sldChg>
      <pc:sldChg chg="modSp modNotesTx">
        <pc:chgData name="Steve Hord" userId="7478402321db30a2" providerId="LiveId" clId="{237E8269-A5DC-4CF3-BDD6-E5049504F31C}" dt="2020-04-20T17:45:34.923" v="158" actId="20577"/>
        <pc:sldMkLst>
          <pc:docMk/>
          <pc:sldMk cId="3010385615" sldId="1586"/>
        </pc:sldMkLst>
        <pc:graphicFrameChg chg="mod">
          <ac:chgData name="Steve Hord" userId="7478402321db30a2" providerId="LiveId" clId="{237E8269-A5DC-4CF3-BDD6-E5049504F31C}" dt="2020-04-20T17:44:32.146" v="155" actId="20577"/>
          <ac:graphicFrameMkLst>
            <pc:docMk/>
            <pc:sldMk cId="3010385615" sldId="1586"/>
            <ac:graphicFrameMk id="8" creationId="{08340480-94A5-4AF3-8210-C465F68C89B1}"/>
          </ac:graphicFrameMkLst>
        </pc:graphicFrameChg>
      </pc:sldChg>
      <pc:sldChg chg="modSp modNotesTx">
        <pc:chgData name="Steve Hord" userId="7478402321db30a2" providerId="LiveId" clId="{237E8269-A5DC-4CF3-BDD6-E5049504F31C}" dt="2020-04-20T20:58:43.473" v="279" actId="113"/>
        <pc:sldMkLst>
          <pc:docMk/>
          <pc:sldMk cId="841123601" sldId="1587"/>
        </pc:sldMkLst>
        <pc:spChg chg="mod">
          <ac:chgData name="Steve Hord" userId="7478402321db30a2" providerId="LiveId" clId="{237E8269-A5DC-4CF3-BDD6-E5049504F31C}" dt="2020-04-20T20:57:44.309" v="276" actId="20577"/>
          <ac:spMkLst>
            <pc:docMk/>
            <pc:sldMk cId="841123601" sldId="1587"/>
            <ac:spMk id="4" creationId="{F3616A99-090F-45E1-9334-58D58B148205}"/>
          </ac:spMkLst>
        </pc:spChg>
      </pc:sldChg>
      <pc:sldChg chg="modSp">
        <pc:chgData name="Steve Hord" userId="7478402321db30a2" providerId="LiveId" clId="{237E8269-A5DC-4CF3-BDD6-E5049504F31C}" dt="2020-04-20T21:11:04.979" v="281" actId="2711"/>
        <pc:sldMkLst>
          <pc:docMk/>
          <pc:sldMk cId="448961913" sldId="1589"/>
        </pc:sldMkLst>
        <pc:graphicFrameChg chg="mod">
          <ac:chgData name="Steve Hord" userId="7478402321db30a2" providerId="LiveId" clId="{237E8269-A5DC-4CF3-BDD6-E5049504F31C}" dt="2020-04-20T21:11:04.979" v="281" actId="2711"/>
          <ac:graphicFrameMkLst>
            <pc:docMk/>
            <pc:sldMk cId="448961913" sldId="1589"/>
            <ac:graphicFrameMk id="5" creationId="{549EE5B4-1514-45D3-921C-868259150793}"/>
          </ac:graphicFrameMkLst>
        </pc:graphicFrameChg>
      </pc:sldChg>
      <pc:sldChg chg="modSp modNotesTx">
        <pc:chgData name="Steve Hord" userId="7478402321db30a2" providerId="LiveId" clId="{237E8269-A5DC-4CF3-BDD6-E5049504F31C}" dt="2020-04-20T21:21:13.196" v="295" actId="20577"/>
        <pc:sldMkLst>
          <pc:docMk/>
          <pc:sldMk cId="2258958738" sldId="1595"/>
        </pc:sldMkLst>
        <pc:spChg chg="mod">
          <ac:chgData name="Steve Hord" userId="7478402321db30a2" providerId="LiveId" clId="{237E8269-A5DC-4CF3-BDD6-E5049504F31C}" dt="2020-04-20T21:15:58.277" v="290" actId="20577"/>
          <ac:spMkLst>
            <pc:docMk/>
            <pc:sldMk cId="2258958738" sldId="1595"/>
            <ac:spMk id="3" creationId="{F35E8CBB-5A7D-4DEF-BAF7-8DD5D042F9E0}"/>
          </ac:spMkLst>
        </pc:spChg>
      </pc:sldChg>
      <pc:sldChg chg="modSp modNotesTx">
        <pc:chgData name="Steve Hord" userId="7478402321db30a2" providerId="LiveId" clId="{237E8269-A5DC-4CF3-BDD6-E5049504F31C}" dt="2020-04-20T21:27:03.150" v="301" actId="20577"/>
        <pc:sldMkLst>
          <pc:docMk/>
          <pc:sldMk cId="4217455425" sldId="1597"/>
        </pc:sldMkLst>
        <pc:graphicFrameChg chg="mod">
          <ac:chgData name="Steve Hord" userId="7478402321db30a2" providerId="LiveId" clId="{237E8269-A5DC-4CF3-BDD6-E5049504F31C}" dt="2020-04-20T21:23:05.207" v="299" actId="20577"/>
          <ac:graphicFrameMkLst>
            <pc:docMk/>
            <pc:sldMk cId="4217455425" sldId="1597"/>
            <ac:graphicFrameMk id="5" creationId="{8BBE1247-23A6-4CED-B467-BAD792BD638A}"/>
          </ac:graphicFrameMkLst>
        </pc:graphicFrameChg>
      </pc:sldChg>
      <pc:sldChg chg="modNotesTx">
        <pc:chgData name="Steve Hord" userId="7478402321db30a2" providerId="LiveId" clId="{237E8269-A5DC-4CF3-BDD6-E5049504F31C}" dt="2020-04-20T21:48:42.336" v="304" actId="113"/>
        <pc:sldMkLst>
          <pc:docMk/>
          <pc:sldMk cId="68032331" sldId="1598"/>
        </pc:sldMkLst>
      </pc:sldChg>
      <pc:sldChg chg="modSp modNotesTx">
        <pc:chgData name="Steve Hord" userId="7478402321db30a2" providerId="LiveId" clId="{237E8269-A5DC-4CF3-BDD6-E5049504F31C}" dt="2020-04-20T21:54:44.312" v="321" actId="20577"/>
        <pc:sldMkLst>
          <pc:docMk/>
          <pc:sldMk cId="2596501681" sldId="1599"/>
        </pc:sldMkLst>
        <pc:graphicFrameChg chg="mod">
          <ac:chgData name="Steve Hord" userId="7478402321db30a2" providerId="LiveId" clId="{237E8269-A5DC-4CF3-BDD6-E5049504F31C}" dt="2020-04-20T21:50:37.779" v="312" actId="20577"/>
          <ac:graphicFrameMkLst>
            <pc:docMk/>
            <pc:sldMk cId="2596501681" sldId="1599"/>
            <ac:graphicFrameMk id="5" creationId="{48AD84B7-A856-46D6-96CD-AD108661DEDF}"/>
          </ac:graphicFrameMkLst>
        </pc:graphicFrameChg>
      </pc:sldChg>
      <pc:sldChg chg="modNotesTx">
        <pc:chgData name="Steve Hord" userId="7478402321db30a2" providerId="LiveId" clId="{237E8269-A5DC-4CF3-BDD6-E5049504F31C}" dt="2020-04-20T21:59:03.412" v="329" actId="114"/>
        <pc:sldMkLst>
          <pc:docMk/>
          <pc:sldMk cId="885631386" sldId="1600"/>
        </pc:sldMkLst>
      </pc:sldChg>
      <pc:sldChg chg="modSp modNotesTx">
        <pc:chgData name="Steve Hord" userId="7478402321db30a2" providerId="LiveId" clId="{237E8269-A5DC-4CF3-BDD6-E5049504F31C}" dt="2020-04-17T19:08:01.173" v="16" actId="20577"/>
        <pc:sldMkLst>
          <pc:docMk/>
          <pc:sldMk cId="2741521458" sldId="1602"/>
        </pc:sldMkLst>
        <pc:spChg chg="mod">
          <ac:chgData name="Steve Hord" userId="7478402321db30a2" providerId="LiveId" clId="{237E8269-A5DC-4CF3-BDD6-E5049504F31C}" dt="2020-04-17T19:01:43.821" v="5" actId="20577"/>
          <ac:spMkLst>
            <pc:docMk/>
            <pc:sldMk cId="2741521458" sldId="1602"/>
            <ac:spMk id="4" creationId="{F3616A99-090F-45E1-9334-58D58B148205}"/>
          </ac:spMkLst>
        </pc:spChg>
        <pc:graphicFrameChg chg="mod">
          <ac:chgData name="Steve Hord" userId="7478402321db30a2" providerId="LiveId" clId="{237E8269-A5DC-4CF3-BDD6-E5049504F31C}" dt="2020-04-17T19:03:38.581" v="13" actId="20577"/>
          <ac:graphicFrameMkLst>
            <pc:docMk/>
            <pc:sldMk cId="2741521458" sldId="1602"/>
            <ac:graphicFrameMk id="6" creationId="{342AB7DA-5201-49EF-8134-02B7790879C2}"/>
          </ac:graphicFrameMkLst>
        </pc:graphicFrameChg>
      </pc:sldChg>
      <pc:sldChg chg="modSp">
        <pc:chgData name="Steve Hord" userId="7478402321db30a2" providerId="LiveId" clId="{237E8269-A5DC-4CF3-BDD6-E5049504F31C}" dt="2020-04-20T22:05:35.750" v="348" actId="20577"/>
        <pc:sldMkLst>
          <pc:docMk/>
          <pc:sldMk cId="4233881779" sldId="1603"/>
        </pc:sldMkLst>
        <pc:graphicFrameChg chg="mod">
          <ac:chgData name="Steve Hord" userId="7478402321db30a2" providerId="LiveId" clId="{237E8269-A5DC-4CF3-BDD6-E5049504F31C}" dt="2020-04-20T22:05:35.750" v="348" actId="20577"/>
          <ac:graphicFrameMkLst>
            <pc:docMk/>
            <pc:sldMk cId="4233881779" sldId="1603"/>
            <ac:graphicFrameMk id="6" creationId="{46D5AE13-5E29-4E23-A018-44CD309FC5E8}"/>
          </ac:graphicFrameMkLst>
        </pc:graphicFrameChg>
      </pc:sldChg>
      <pc:sldChg chg="modNotesTx">
        <pc:chgData name="Steve Hord" userId="7478402321db30a2" providerId="LiveId" clId="{237E8269-A5DC-4CF3-BDD6-E5049504F31C}" dt="2020-04-20T22:10:30.490" v="349" actId="113"/>
        <pc:sldMkLst>
          <pc:docMk/>
          <pc:sldMk cId="3027599026" sldId="1605"/>
        </pc:sldMkLst>
      </pc:sldChg>
      <pc:sldChg chg="modSp modNotesTx">
        <pc:chgData name="Steve Hord" userId="7478402321db30a2" providerId="LiveId" clId="{237E8269-A5DC-4CF3-BDD6-E5049504F31C}" dt="2020-04-20T22:16:18.389" v="370" actId="6549"/>
        <pc:sldMkLst>
          <pc:docMk/>
          <pc:sldMk cId="2247178049" sldId="1606"/>
        </pc:sldMkLst>
        <pc:graphicFrameChg chg="mod">
          <ac:chgData name="Steve Hord" userId="7478402321db30a2" providerId="LiveId" clId="{237E8269-A5DC-4CF3-BDD6-E5049504F31C}" dt="2020-04-20T22:13:47.247" v="361" actId="20577"/>
          <ac:graphicFrameMkLst>
            <pc:docMk/>
            <pc:sldMk cId="2247178049" sldId="1606"/>
            <ac:graphicFrameMk id="5" creationId="{44F4358F-E58F-4AAD-8FAD-7052DE5FD247}"/>
          </ac:graphicFrameMkLst>
        </pc:graphicFrameChg>
      </pc:sldChg>
      <pc:sldChg chg="modNotesTx">
        <pc:chgData name="Steve Hord" userId="7478402321db30a2" providerId="LiveId" clId="{237E8269-A5DC-4CF3-BDD6-E5049504F31C}" dt="2020-04-17T19:43:06.462" v="23" actId="2711"/>
        <pc:sldMkLst>
          <pc:docMk/>
          <pc:sldMk cId="1302820814" sldId="1608"/>
        </pc:sldMkLst>
      </pc:sldChg>
      <pc:sldChg chg="modSp">
        <pc:chgData name="Steve Hord" userId="7478402321db30a2" providerId="LiveId" clId="{237E8269-A5DC-4CF3-BDD6-E5049504F31C}" dt="2020-04-17T19:56:32.219" v="64" actId="255"/>
        <pc:sldMkLst>
          <pc:docMk/>
          <pc:sldMk cId="40536582" sldId="1609"/>
        </pc:sldMkLst>
        <pc:graphicFrameChg chg="mod">
          <ac:chgData name="Steve Hord" userId="7478402321db30a2" providerId="LiveId" clId="{237E8269-A5DC-4CF3-BDD6-E5049504F31C}" dt="2020-04-17T19:56:32.219" v="64" actId="255"/>
          <ac:graphicFrameMkLst>
            <pc:docMk/>
            <pc:sldMk cId="40536582" sldId="1609"/>
            <ac:graphicFrameMk id="6" creationId="{F7F91E82-7A30-446A-9AA4-56B6B8FA1E48}"/>
          </ac:graphicFrameMkLst>
        </pc:graphicFrameChg>
      </pc:sldChg>
      <pc:sldChg chg="modSp modNotesTx">
        <pc:chgData name="Steve Hord" userId="7478402321db30a2" providerId="LiveId" clId="{237E8269-A5DC-4CF3-BDD6-E5049504F31C}" dt="2020-04-20T22:12:38.662" v="354" actId="20577"/>
        <pc:sldMkLst>
          <pc:docMk/>
          <pc:sldMk cId="3677067881" sldId="1610"/>
        </pc:sldMkLst>
        <pc:graphicFrameChg chg="mod">
          <ac:chgData name="Steve Hord" userId="7478402321db30a2" providerId="LiveId" clId="{237E8269-A5DC-4CF3-BDD6-E5049504F31C}" dt="2020-04-20T22:11:27.201" v="350" actId="20577"/>
          <ac:graphicFrameMkLst>
            <pc:docMk/>
            <pc:sldMk cId="3677067881" sldId="1610"/>
            <ac:graphicFrameMk id="6" creationId="{7CA6B8BE-95D4-4114-B614-11B0406EF2D4}"/>
          </ac:graphicFrameMkLst>
        </pc:graphicFrameChg>
      </pc:sldChg>
      <pc:sldChg chg="modSp modNotesTx">
        <pc:chgData name="Steve Hord" userId="7478402321db30a2" providerId="LiveId" clId="{237E8269-A5DC-4CF3-BDD6-E5049504F31C}" dt="2020-04-20T22:19:25.678" v="380" actId="20577"/>
        <pc:sldMkLst>
          <pc:docMk/>
          <pc:sldMk cId="3999315873" sldId="1611"/>
        </pc:sldMkLst>
        <pc:spChg chg="mod">
          <ac:chgData name="Steve Hord" userId="7478402321db30a2" providerId="LiveId" clId="{237E8269-A5DC-4CF3-BDD6-E5049504F31C}" dt="2020-04-20T22:18:05.054" v="373" actId="20577"/>
          <ac:spMkLst>
            <pc:docMk/>
            <pc:sldMk cId="3999315873" sldId="1611"/>
            <ac:spMk id="3" creationId="{4897B8F8-26DF-42FB-ACB0-59929F1C2344}"/>
          </ac:spMkLst>
        </pc:spChg>
      </pc:sldChg>
    </pc:docChg>
  </pc:docChgLst>
  <pc:docChgLst>
    <pc:chgData name="boB Taylor" userId="2ac94156-0040-455f-a13f-091fd330254d" providerId="ADAL" clId="{4030A594-E66C-4503-854C-911922EFEF5B}"/>
    <pc:docChg chg="custSel modSld">
      <pc:chgData name="boB Taylor" userId="2ac94156-0040-455f-a13f-091fd330254d" providerId="ADAL" clId="{4030A594-E66C-4503-854C-911922EFEF5B}" dt="2020-05-11T20:18:01.445" v="119" actId="14100"/>
      <pc:docMkLst>
        <pc:docMk/>
      </pc:docMkLst>
      <pc:sldChg chg="delSp mod">
        <pc:chgData name="boB Taylor" userId="2ac94156-0040-455f-a13f-091fd330254d" providerId="ADAL" clId="{4030A594-E66C-4503-854C-911922EFEF5B}" dt="2020-05-11T20:01:31.059" v="9" actId="478"/>
        <pc:sldMkLst>
          <pc:docMk/>
          <pc:sldMk cId="4221783869" sldId="566"/>
        </pc:sldMkLst>
        <pc:spChg chg="del">
          <ac:chgData name="boB Taylor" userId="2ac94156-0040-455f-a13f-091fd330254d" providerId="ADAL" clId="{4030A594-E66C-4503-854C-911922EFEF5B}" dt="2020-05-11T20:01:31.059" v="9" actId="478"/>
          <ac:spMkLst>
            <pc:docMk/>
            <pc:sldMk cId="4221783869" sldId="566"/>
            <ac:spMk id="3" creationId="{F35E8CBB-5A7D-4DEF-BAF7-8DD5D042F9E0}"/>
          </ac:spMkLst>
        </pc:spChg>
      </pc:sldChg>
      <pc:sldChg chg="modSp mod">
        <pc:chgData name="boB Taylor" userId="2ac94156-0040-455f-a13f-091fd330254d" providerId="ADAL" clId="{4030A594-E66C-4503-854C-911922EFEF5B}" dt="2020-05-11T20:16:09.376" v="110" actId="1076"/>
        <pc:sldMkLst>
          <pc:docMk/>
          <pc:sldMk cId="4248838292" sldId="573"/>
        </pc:sldMkLst>
        <pc:grpChg chg="mod">
          <ac:chgData name="boB Taylor" userId="2ac94156-0040-455f-a13f-091fd330254d" providerId="ADAL" clId="{4030A594-E66C-4503-854C-911922EFEF5B}" dt="2020-05-11T20:16:09.376" v="110" actId="1076"/>
          <ac:grpSpMkLst>
            <pc:docMk/>
            <pc:sldMk cId="4248838292" sldId="573"/>
            <ac:grpSpMk id="4" creationId="{29D97BF0-072F-47B2-9979-AE885CC296F1}"/>
          </ac:grpSpMkLst>
        </pc:grpChg>
        <pc:graphicFrameChg chg="mod">
          <ac:chgData name="boB Taylor" userId="2ac94156-0040-455f-a13f-091fd330254d" providerId="ADAL" clId="{4030A594-E66C-4503-854C-911922EFEF5B}" dt="2020-05-11T20:16:02.185" v="109" actId="255"/>
          <ac:graphicFrameMkLst>
            <pc:docMk/>
            <pc:sldMk cId="4248838292" sldId="573"/>
            <ac:graphicFrameMk id="9" creationId="{064B38ED-22CB-4783-9539-5965103DA75C}"/>
          </ac:graphicFrameMkLst>
        </pc:graphicFrameChg>
      </pc:sldChg>
      <pc:sldChg chg="delSp modSp mod">
        <pc:chgData name="boB Taylor" userId="2ac94156-0040-455f-a13f-091fd330254d" providerId="ADAL" clId="{4030A594-E66C-4503-854C-911922EFEF5B}" dt="2020-05-11T20:18:01.445" v="119" actId="14100"/>
        <pc:sldMkLst>
          <pc:docMk/>
          <pc:sldMk cId="4116196337" sldId="597"/>
        </pc:sldMkLst>
        <pc:spChg chg="del">
          <ac:chgData name="boB Taylor" userId="2ac94156-0040-455f-a13f-091fd330254d" providerId="ADAL" clId="{4030A594-E66C-4503-854C-911922EFEF5B}" dt="2020-05-11T20:17:18.484" v="116" actId="478"/>
          <ac:spMkLst>
            <pc:docMk/>
            <pc:sldMk cId="4116196337" sldId="597"/>
            <ac:spMk id="3" creationId="{F35E8CBB-5A7D-4DEF-BAF7-8DD5D042F9E0}"/>
          </ac:spMkLst>
        </pc:spChg>
        <pc:graphicFrameChg chg="mod">
          <ac:chgData name="boB Taylor" userId="2ac94156-0040-455f-a13f-091fd330254d" providerId="ADAL" clId="{4030A594-E66C-4503-854C-911922EFEF5B}" dt="2020-05-11T20:18:01.445" v="119" actId="14100"/>
          <ac:graphicFrameMkLst>
            <pc:docMk/>
            <pc:sldMk cId="4116196337" sldId="597"/>
            <ac:graphicFrameMk id="5" creationId="{78BFB731-FB43-4ACF-BB33-E13D7229B2EF}"/>
          </ac:graphicFrameMkLst>
        </pc:graphicFrameChg>
        <pc:picChg chg="mod">
          <ac:chgData name="boB Taylor" userId="2ac94156-0040-455f-a13f-091fd330254d" providerId="ADAL" clId="{4030A594-E66C-4503-854C-911922EFEF5B}" dt="2020-05-11T20:17:53.686" v="117" actId="1076"/>
          <ac:picMkLst>
            <pc:docMk/>
            <pc:sldMk cId="4116196337" sldId="597"/>
            <ac:picMk id="9" creationId="{1DA718B7-BF33-4BA4-8C5E-BCEE7681F0D8}"/>
          </ac:picMkLst>
        </pc:picChg>
      </pc:sldChg>
      <pc:sldChg chg="delSp modSp mod">
        <pc:chgData name="boB Taylor" userId="2ac94156-0040-455f-a13f-091fd330254d" providerId="ADAL" clId="{4030A594-E66C-4503-854C-911922EFEF5B}" dt="2020-05-11T20:07:32.869" v="44" actId="20577"/>
        <pc:sldMkLst>
          <pc:docMk/>
          <pc:sldMk cId="883934879" sldId="598"/>
        </pc:sldMkLst>
        <pc:spChg chg="del mod">
          <ac:chgData name="boB Taylor" userId="2ac94156-0040-455f-a13f-091fd330254d" providerId="ADAL" clId="{4030A594-E66C-4503-854C-911922EFEF5B}" dt="2020-05-11T20:06:58.304" v="41" actId="21"/>
          <ac:spMkLst>
            <pc:docMk/>
            <pc:sldMk cId="883934879" sldId="598"/>
            <ac:spMk id="5" creationId="{38BC5BF7-E42F-4CF1-9D6E-F356CAE3D8BE}"/>
          </ac:spMkLst>
        </pc:spChg>
        <pc:graphicFrameChg chg="mod">
          <ac:chgData name="boB Taylor" userId="2ac94156-0040-455f-a13f-091fd330254d" providerId="ADAL" clId="{4030A594-E66C-4503-854C-911922EFEF5B}" dt="2020-05-11T20:07:32.869" v="44" actId="20577"/>
          <ac:graphicFrameMkLst>
            <pc:docMk/>
            <pc:sldMk cId="883934879" sldId="598"/>
            <ac:graphicFrameMk id="6" creationId="{F51B4517-2B82-4973-8EDD-74FA4FBD904D}"/>
          </ac:graphicFrameMkLst>
        </pc:graphicFrameChg>
      </pc:sldChg>
      <pc:sldChg chg="delSp mod">
        <pc:chgData name="boB Taylor" userId="2ac94156-0040-455f-a13f-091fd330254d" providerId="ADAL" clId="{4030A594-E66C-4503-854C-911922EFEF5B}" dt="2020-05-11T20:02:44.345" v="21" actId="478"/>
        <pc:sldMkLst>
          <pc:docMk/>
          <pc:sldMk cId="665599931" sldId="600"/>
        </pc:sldMkLst>
        <pc:spChg chg="del">
          <ac:chgData name="boB Taylor" userId="2ac94156-0040-455f-a13f-091fd330254d" providerId="ADAL" clId="{4030A594-E66C-4503-854C-911922EFEF5B}" dt="2020-05-11T20:02:44.345" v="21" actId="478"/>
          <ac:spMkLst>
            <pc:docMk/>
            <pc:sldMk cId="665599931" sldId="600"/>
            <ac:spMk id="3" creationId="{F35E8CBB-5A7D-4DEF-BAF7-8DD5D042F9E0}"/>
          </ac:spMkLst>
        </pc:spChg>
      </pc:sldChg>
      <pc:sldChg chg="delSp mod">
        <pc:chgData name="boB Taylor" userId="2ac94156-0040-455f-a13f-091fd330254d" providerId="ADAL" clId="{4030A594-E66C-4503-854C-911922EFEF5B}" dt="2020-05-11T20:02:36.244" v="19" actId="478"/>
        <pc:sldMkLst>
          <pc:docMk/>
          <pc:sldMk cId="3603089502" sldId="1545"/>
        </pc:sldMkLst>
        <pc:spChg chg="del">
          <ac:chgData name="boB Taylor" userId="2ac94156-0040-455f-a13f-091fd330254d" providerId="ADAL" clId="{4030A594-E66C-4503-854C-911922EFEF5B}" dt="2020-05-11T20:02:36.244" v="19" actId="478"/>
          <ac:spMkLst>
            <pc:docMk/>
            <pc:sldMk cId="3603089502" sldId="1545"/>
            <ac:spMk id="3" creationId="{F35E8CBB-5A7D-4DEF-BAF7-8DD5D042F9E0}"/>
          </ac:spMkLst>
        </pc:spChg>
      </pc:sldChg>
      <pc:sldChg chg="delSp mod">
        <pc:chgData name="boB Taylor" userId="2ac94156-0040-455f-a13f-091fd330254d" providerId="ADAL" clId="{4030A594-E66C-4503-854C-911922EFEF5B}" dt="2020-05-11T20:02:39.722" v="20" actId="478"/>
        <pc:sldMkLst>
          <pc:docMk/>
          <pc:sldMk cId="1844264441" sldId="1546"/>
        </pc:sldMkLst>
        <pc:spChg chg="del">
          <ac:chgData name="boB Taylor" userId="2ac94156-0040-455f-a13f-091fd330254d" providerId="ADAL" clId="{4030A594-E66C-4503-854C-911922EFEF5B}" dt="2020-05-11T20:02:39.722" v="20" actId="478"/>
          <ac:spMkLst>
            <pc:docMk/>
            <pc:sldMk cId="1844264441" sldId="1546"/>
            <ac:spMk id="3" creationId="{F35E8CBB-5A7D-4DEF-BAF7-8DD5D042F9E0}"/>
          </ac:spMkLst>
        </pc:spChg>
      </pc:sldChg>
      <pc:sldChg chg="modSp">
        <pc:chgData name="boB Taylor" userId="2ac94156-0040-455f-a13f-091fd330254d" providerId="ADAL" clId="{4030A594-E66C-4503-854C-911922EFEF5B}" dt="2020-05-11T20:10:05.369" v="59"/>
        <pc:sldMkLst>
          <pc:docMk/>
          <pc:sldMk cId="2591313168" sldId="1551"/>
        </pc:sldMkLst>
        <pc:graphicFrameChg chg="mod">
          <ac:chgData name="boB Taylor" userId="2ac94156-0040-455f-a13f-091fd330254d" providerId="ADAL" clId="{4030A594-E66C-4503-854C-911922EFEF5B}" dt="2020-05-11T20:10:05.369" v="59"/>
          <ac:graphicFrameMkLst>
            <pc:docMk/>
            <pc:sldMk cId="2591313168" sldId="1551"/>
            <ac:graphicFrameMk id="5" creationId="{A1D15659-A07D-4733-A7BC-CA75EFC1B0E6}"/>
          </ac:graphicFrameMkLst>
        </pc:graphicFrameChg>
      </pc:sldChg>
      <pc:sldChg chg="delSp modSp mod">
        <pc:chgData name="boB Taylor" userId="2ac94156-0040-455f-a13f-091fd330254d" providerId="ADAL" clId="{4030A594-E66C-4503-854C-911922EFEF5B}" dt="2020-05-11T20:12:07.938" v="74" actId="1076"/>
        <pc:sldMkLst>
          <pc:docMk/>
          <pc:sldMk cId="3965515432" sldId="1554"/>
        </pc:sldMkLst>
        <pc:spChg chg="del">
          <ac:chgData name="boB Taylor" userId="2ac94156-0040-455f-a13f-091fd330254d" providerId="ADAL" clId="{4030A594-E66C-4503-854C-911922EFEF5B}" dt="2020-05-11T20:00:40.387" v="2" actId="478"/>
          <ac:spMkLst>
            <pc:docMk/>
            <pc:sldMk cId="3965515432" sldId="1554"/>
            <ac:spMk id="3" creationId="{F35E8CBB-5A7D-4DEF-BAF7-8DD5D042F9E0}"/>
          </ac:spMkLst>
        </pc:spChg>
        <pc:spChg chg="mod">
          <ac:chgData name="boB Taylor" userId="2ac94156-0040-455f-a13f-091fd330254d" providerId="ADAL" clId="{4030A594-E66C-4503-854C-911922EFEF5B}" dt="2020-05-11T20:12:07.938" v="74" actId="1076"/>
          <ac:spMkLst>
            <pc:docMk/>
            <pc:sldMk cId="3965515432" sldId="1554"/>
            <ac:spMk id="6" creationId="{664783E4-7D4D-4C6D-A1CE-9C1363D03754}"/>
          </ac:spMkLst>
        </pc:spChg>
        <pc:graphicFrameChg chg="mod">
          <ac:chgData name="boB Taylor" userId="2ac94156-0040-455f-a13f-091fd330254d" providerId="ADAL" clId="{4030A594-E66C-4503-854C-911922EFEF5B}" dt="2020-05-11T20:12:01.767" v="73" actId="20577"/>
          <ac:graphicFrameMkLst>
            <pc:docMk/>
            <pc:sldMk cId="3965515432" sldId="1554"/>
            <ac:graphicFrameMk id="7" creationId="{6825BFF4-6D60-4890-AEF7-C5905B998204}"/>
          </ac:graphicFrameMkLst>
        </pc:graphicFrameChg>
      </pc:sldChg>
      <pc:sldChg chg="delSp modSp mod">
        <pc:chgData name="boB Taylor" userId="2ac94156-0040-455f-a13f-091fd330254d" providerId="ADAL" clId="{4030A594-E66C-4503-854C-911922EFEF5B}" dt="2020-05-11T20:13:32.844" v="81" actId="255"/>
        <pc:sldMkLst>
          <pc:docMk/>
          <pc:sldMk cId="3935691718" sldId="1556"/>
        </pc:sldMkLst>
        <pc:spChg chg="del">
          <ac:chgData name="boB Taylor" userId="2ac94156-0040-455f-a13f-091fd330254d" providerId="ADAL" clId="{4030A594-E66C-4503-854C-911922EFEF5B}" dt="2020-05-11T20:00:46.824" v="3" actId="478"/>
          <ac:spMkLst>
            <pc:docMk/>
            <pc:sldMk cId="3935691718" sldId="1556"/>
            <ac:spMk id="3" creationId="{F35E8CBB-5A7D-4DEF-BAF7-8DD5D042F9E0}"/>
          </ac:spMkLst>
        </pc:spChg>
        <pc:graphicFrameChg chg="mod">
          <ac:chgData name="boB Taylor" userId="2ac94156-0040-455f-a13f-091fd330254d" providerId="ADAL" clId="{4030A594-E66C-4503-854C-911922EFEF5B}" dt="2020-05-11T20:13:32.844" v="81" actId="255"/>
          <ac:graphicFrameMkLst>
            <pc:docMk/>
            <pc:sldMk cId="3935691718" sldId="1556"/>
            <ac:graphicFrameMk id="6" creationId="{AF6962BC-992F-4274-B621-8892DC7747AB}"/>
          </ac:graphicFrameMkLst>
        </pc:graphicFrameChg>
      </pc:sldChg>
      <pc:sldChg chg="delSp mod">
        <pc:chgData name="boB Taylor" userId="2ac94156-0040-455f-a13f-091fd330254d" providerId="ADAL" clId="{4030A594-E66C-4503-854C-911922EFEF5B}" dt="2020-05-11T20:01:06.080" v="4" actId="478"/>
        <pc:sldMkLst>
          <pc:docMk/>
          <pc:sldMk cId="1161100183" sldId="1561"/>
        </pc:sldMkLst>
        <pc:spChg chg="del">
          <ac:chgData name="boB Taylor" userId="2ac94156-0040-455f-a13f-091fd330254d" providerId="ADAL" clId="{4030A594-E66C-4503-854C-911922EFEF5B}" dt="2020-05-11T20:01:06.080" v="4" actId="478"/>
          <ac:spMkLst>
            <pc:docMk/>
            <pc:sldMk cId="1161100183" sldId="1561"/>
            <ac:spMk id="3" creationId="{F35E8CBB-5A7D-4DEF-BAF7-8DD5D042F9E0}"/>
          </ac:spMkLst>
        </pc:spChg>
      </pc:sldChg>
      <pc:sldChg chg="delSp mod">
        <pc:chgData name="boB Taylor" userId="2ac94156-0040-455f-a13f-091fd330254d" providerId="ADAL" clId="{4030A594-E66C-4503-854C-911922EFEF5B}" dt="2020-05-11T20:01:10.683" v="5" actId="478"/>
        <pc:sldMkLst>
          <pc:docMk/>
          <pc:sldMk cId="3568518801" sldId="1562"/>
        </pc:sldMkLst>
        <pc:spChg chg="del">
          <ac:chgData name="boB Taylor" userId="2ac94156-0040-455f-a13f-091fd330254d" providerId="ADAL" clId="{4030A594-E66C-4503-854C-911922EFEF5B}" dt="2020-05-11T20:01:10.683" v="5" actId="478"/>
          <ac:spMkLst>
            <pc:docMk/>
            <pc:sldMk cId="3568518801" sldId="1562"/>
            <ac:spMk id="3" creationId="{F35E8CBB-5A7D-4DEF-BAF7-8DD5D042F9E0}"/>
          </ac:spMkLst>
        </pc:spChg>
      </pc:sldChg>
      <pc:sldChg chg="delSp mod">
        <pc:chgData name="boB Taylor" userId="2ac94156-0040-455f-a13f-091fd330254d" providerId="ADAL" clId="{4030A594-E66C-4503-854C-911922EFEF5B}" dt="2020-05-11T20:01:15.459" v="6" actId="478"/>
        <pc:sldMkLst>
          <pc:docMk/>
          <pc:sldMk cId="2098398432" sldId="1565"/>
        </pc:sldMkLst>
        <pc:spChg chg="del">
          <ac:chgData name="boB Taylor" userId="2ac94156-0040-455f-a13f-091fd330254d" providerId="ADAL" clId="{4030A594-E66C-4503-854C-911922EFEF5B}" dt="2020-05-11T20:01:15.459" v="6" actId="478"/>
          <ac:spMkLst>
            <pc:docMk/>
            <pc:sldMk cId="2098398432" sldId="1565"/>
            <ac:spMk id="3" creationId="{F35E8CBB-5A7D-4DEF-BAF7-8DD5D042F9E0}"/>
          </ac:spMkLst>
        </pc:spChg>
      </pc:sldChg>
      <pc:sldChg chg="delSp modSp mod modNotesTx">
        <pc:chgData name="boB Taylor" userId="2ac94156-0040-455f-a13f-091fd330254d" providerId="ADAL" clId="{4030A594-E66C-4503-854C-911922EFEF5B}" dt="2020-05-11T20:04:31.520" v="29" actId="20577"/>
        <pc:sldMkLst>
          <pc:docMk/>
          <pc:sldMk cId="2490951893" sldId="1566"/>
        </pc:sldMkLst>
        <pc:spChg chg="del mod">
          <ac:chgData name="boB Taylor" userId="2ac94156-0040-455f-a13f-091fd330254d" providerId="ADAL" clId="{4030A594-E66C-4503-854C-911922EFEF5B}" dt="2020-05-11T20:01:27.222" v="8" actId="478"/>
          <ac:spMkLst>
            <pc:docMk/>
            <pc:sldMk cId="2490951893" sldId="1566"/>
            <ac:spMk id="3" creationId="{F35E8CBB-5A7D-4DEF-BAF7-8DD5D042F9E0}"/>
          </ac:spMkLst>
        </pc:spChg>
      </pc:sldChg>
      <pc:sldChg chg="delSp mod">
        <pc:chgData name="boB Taylor" userId="2ac94156-0040-455f-a13f-091fd330254d" providerId="ADAL" clId="{4030A594-E66C-4503-854C-911922EFEF5B}" dt="2020-05-11T20:01:36.630" v="10" actId="478"/>
        <pc:sldMkLst>
          <pc:docMk/>
          <pc:sldMk cId="2789277589" sldId="1568"/>
        </pc:sldMkLst>
        <pc:spChg chg="del">
          <ac:chgData name="boB Taylor" userId="2ac94156-0040-455f-a13f-091fd330254d" providerId="ADAL" clId="{4030A594-E66C-4503-854C-911922EFEF5B}" dt="2020-05-11T20:01:36.630" v="10" actId="478"/>
          <ac:spMkLst>
            <pc:docMk/>
            <pc:sldMk cId="2789277589" sldId="1568"/>
            <ac:spMk id="3" creationId="{F35E8CBB-5A7D-4DEF-BAF7-8DD5D042F9E0}"/>
          </ac:spMkLst>
        </pc:spChg>
      </pc:sldChg>
      <pc:sldChg chg="delSp mod">
        <pc:chgData name="boB Taylor" userId="2ac94156-0040-455f-a13f-091fd330254d" providerId="ADAL" clId="{4030A594-E66C-4503-854C-911922EFEF5B}" dt="2020-05-11T20:01:39.800" v="11" actId="478"/>
        <pc:sldMkLst>
          <pc:docMk/>
          <pc:sldMk cId="800179642" sldId="1571"/>
        </pc:sldMkLst>
        <pc:spChg chg="del">
          <ac:chgData name="boB Taylor" userId="2ac94156-0040-455f-a13f-091fd330254d" providerId="ADAL" clId="{4030A594-E66C-4503-854C-911922EFEF5B}" dt="2020-05-11T20:01:39.800" v="11" actId="478"/>
          <ac:spMkLst>
            <pc:docMk/>
            <pc:sldMk cId="800179642" sldId="1571"/>
            <ac:spMk id="3" creationId="{F35E8CBB-5A7D-4DEF-BAF7-8DD5D042F9E0}"/>
          </ac:spMkLst>
        </pc:spChg>
      </pc:sldChg>
      <pc:sldChg chg="delSp mod">
        <pc:chgData name="boB Taylor" userId="2ac94156-0040-455f-a13f-091fd330254d" providerId="ADAL" clId="{4030A594-E66C-4503-854C-911922EFEF5B}" dt="2020-05-11T20:01:45.182" v="12" actId="478"/>
        <pc:sldMkLst>
          <pc:docMk/>
          <pc:sldMk cId="1002693369" sldId="1580"/>
        </pc:sldMkLst>
        <pc:spChg chg="del">
          <ac:chgData name="boB Taylor" userId="2ac94156-0040-455f-a13f-091fd330254d" providerId="ADAL" clId="{4030A594-E66C-4503-854C-911922EFEF5B}" dt="2020-05-11T20:01:45.182" v="12" actId="478"/>
          <ac:spMkLst>
            <pc:docMk/>
            <pc:sldMk cId="1002693369" sldId="1580"/>
            <ac:spMk id="3" creationId="{F35E8CBB-5A7D-4DEF-BAF7-8DD5D042F9E0}"/>
          </ac:spMkLst>
        </pc:spChg>
      </pc:sldChg>
      <pc:sldChg chg="delSp mod">
        <pc:chgData name="boB Taylor" userId="2ac94156-0040-455f-a13f-091fd330254d" providerId="ADAL" clId="{4030A594-E66C-4503-854C-911922EFEF5B}" dt="2020-05-11T20:01:48.585" v="13" actId="478"/>
        <pc:sldMkLst>
          <pc:docMk/>
          <pc:sldMk cId="3741286794" sldId="1581"/>
        </pc:sldMkLst>
        <pc:spChg chg="del">
          <ac:chgData name="boB Taylor" userId="2ac94156-0040-455f-a13f-091fd330254d" providerId="ADAL" clId="{4030A594-E66C-4503-854C-911922EFEF5B}" dt="2020-05-11T20:01:48.585" v="13" actId="478"/>
          <ac:spMkLst>
            <pc:docMk/>
            <pc:sldMk cId="3741286794" sldId="1581"/>
            <ac:spMk id="3" creationId="{F35E8CBB-5A7D-4DEF-BAF7-8DD5D042F9E0}"/>
          </ac:spMkLst>
        </pc:spChg>
      </pc:sldChg>
      <pc:sldChg chg="delSp mod">
        <pc:chgData name="boB Taylor" userId="2ac94156-0040-455f-a13f-091fd330254d" providerId="ADAL" clId="{4030A594-E66C-4503-854C-911922EFEF5B}" dt="2020-05-11T20:01:56.031" v="14" actId="478"/>
        <pc:sldMkLst>
          <pc:docMk/>
          <pc:sldMk cId="1719616079" sldId="1582"/>
        </pc:sldMkLst>
        <pc:spChg chg="del">
          <ac:chgData name="boB Taylor" userId="2ac94156-0040-455f-a13f-091fd330254d" providerId="ADAL" clId="{4030A594-E66C-4503-854C-911922EFEF5B}" dt="2020-05-11T20:01:56.031" v="14" actId="478"/>
          <ac:spMkLst>
            <pc:docMk/>
            <pc:sldMk cId="1719616079" sldId="1582"/>
            <ac:spMk id="3" creationId="{F35E8CBB-5A7D-4DEF-BAF7-8DD5D042F9E0}"/>
          </ac:spMkLst>
        </pc:spChg>
      </pc:sldChg>
      <pc:sldChg chg="delSp mod">
        <pc:chgData name="boB Taylor" userId="2ac94156-0040-455f-a13f-091fd330254d" providerId="ADAL" clId="{4030A594-E66C-4503-854C-911922EFEF5B}" dt="2020-05-11T20:02:05.315" v="15" actId="478"/>
        <pc:sldMkLst>
          <pc:docMk/>
          <pc:sldMk cId="1366487491" sldId="1583"/>
        </pc:sldMkLst>
        <pc:spChg chg="del">
          <ac:chgData name="boB Taylor" userId="2ac94156-0040-455f-a13f-091fd330254d" providerId="ADAL" clId="{4030A594-E66C-4503-854C-911922EFEF5B}" dt="2020-05-11T20:02:05.315" v="15" actId="478"/>
          <ac:spMkLst>
            <pc:docMk/>
            <pc:sldMk cId="1366487491" sldId="1583"/>
            <ac:spMk id="3" creationId="{F35E8CBB-5A7D-4DEF-BAF7-8DD5D042F9E0}"/>
          </ac:spMkLst>
        </pc:spChg>
      </pc:sldChg>
      <pc:sldChg chg="delSp mod">
        <pc:chgData name="boB Taylor" userId="2ac94156-0040-455f-a13f-091fd330254d" providerId="ADAL" clId="{4030A594-E66C-4503-854C-911922EFEF5B}" dt="2020-05-11T20:02:10.770" v="16" actId="478"/>
        <pc:sldMkLst>
          <pc:docMk/>
          <pc:sldMk cId="2497101253" sldId="1584"/>
        </pc:sldMkLst>
        <pc:spChg chg="del">
          <ac:chgData name="boB Taylor" userId="2ac94156-0040-455f-a13f-091fd330254d" providerId="ADAL" clId="{4030A594-E66C-4503-854C-911922EFEF5B}" dt="2020-05-11T20:02:10.770" v="16" actId="478"/>
          <ac:spMkLst>
            <pc:docMk/>
            <pc:sldMk cId="2497101253" sldId="1584"/>
            <ac:spMk id="3" creationId="{F35E8CBB-5A7D-4DEF-BAF7-8DD5D042F9E0}"/>
          </ac:spMkLst>
        </pc:spChg>
      </pc:sldChg>
      <pc:sldChg chg="delSp mod">
        <pc:chgData name="boB Taylor" userId="2ac94156-0040-455f-a13f-091fd330254d" providerId="ADAL" clId="{4030A594-E66C-4503-854C-911922EFEF5B}" dt="2020-05-11T20:02:14.824" v="17" actId="478"/>
        <pc:sldMkLst>
          <pc:docMk/>
          <pc:sldMk cId="2725821802" sldId="1585"/>
        </pc:sldMkLst>
        <pc:spChg chg="del">
          <ac:chgData name="boB Taylor" userId="2ac94156-0040-455f-a13f-091fd330254d" providerId="ADAL" clId="{4030A594-E66C-4503-854C-911922EFEF5B}" dt="2020-05-11T20:02:14.824" v="17" actId="478"/>
          <ac:spMkLst>
            <pc:docMk/>
            <pc:sldMk cId="2725821802" sldId="1585"/>
            <ac:spMk id="3" creationId="{F35E8CBB-5A7D-4DEF-BAF7-8DD5D042F9E0}"/>
          </ac:spMkLst>
        </pc:spChg>
      </pc:sldChg>
      <pc:sldChg chg="delSp mod">
        <pc:chgData name="boB Taylor" userId="2ac94156-0040-455f-a13f-091fd330254d" providerId="ADAL" clId="{4030A594-E66C-4503-854C-911922EFEF5B}" dt="2020-05-11T20:02:21.567" v="18" actId="478"/>
        <pc:sldMkLst>
          <pc:docMk/>
          <pc:sldMk cId="3010385615" sldId="1586"/>
        </pc:sldMkLst>
        <pc:spChg chg="del">
          <ac:chgData name="boB Taylor" userId="2ac94156-0040-455f-a13f-091fd330254d" providerId="ADAL" clId="{4030A594-E66C-4503-854C-911922EFEF5B}" dt="2020-05-11T20:02:21.567" v="18" actId="478"/>
          <ac:spMkLst>
            <pc:docMk/>
            <pc:sldMk cId="3010385615" sldId="1586"/>
            <ac:spMk id="3" creationId="{F35E8CBB-5A7D-4DEF-BAF7-8DD5D042F9E0}"/>
          </ac:spMkLst>
        </pc:spChg>
      </pc:sldChg>
      <pc:sldChg chg="delSp mod">
        <pc:chgData name="boB Taylor" userId="2ac94156-0040-455f-a13f-091fd330254d" providerId="ADAL" clId="{4030A594-E66C-4503-854C-911922EFEF5B}" dt="2020-05-11T20:02:55.698" v="22" actId="478"/>
        <pc:sldMkLst>
          <pc:docMk/>
          <pc:sldMk cId="841123601" sldId="1587"/>
        </pc:sldMkLst>
        <pc:spChg chg="del">
          <ac:chgData name="boB Taylor" userId="2ac94156-0040-455f-a13f-091fd330254d" providerId="ADAL" clId="{4030A594-E66C-4503-854C-911922EFEF5B}" dt="2020-05-11T20:02:55.698" v="22" actId="478"/>
          <ac:spMkLst>
            <pc:docMk/>
            <pc:sldMk cId="841123601" sldId="1587"/>
            <ac:spMk id="3" creationId="{F35E8CBB-5A7D-4DEF-BAF7-8DD5D042F9E0}"/>
          </ac:spMkLst>
        </pc:spChg>
      </pc:sldChg>
      <pc:sldChg chg="delSp mod">
        <pc:chgData name="boB Taylor" userId="2ac94156-0040-455f-a13f-091fd330254d" providerId="ADAL" clId="{4030A594-E66C-4503-854C-911922EFEF5B}" dt="2020-05-11T20:03:10.885" v="23" actId="478"/>
        <pc:sldMkLst>
          <pc:docMk/>
          <pc:sldMk cId="4217455425" sldId="1597"/>
        </pc:sldMkLst>
        <pc:spChg chg="del">
          <ac:chgData name="boB Taylor" userId="2ac94156-0040-455f-a13f-091fd330254d" providerId="ADAL" clId="{4030A594-E66C-4503-854C-911922EFEF5B}" dt="2020-05-11T20:03:10.885" v="23" actId="478"/>
          <ac:spMkLst>
            <pc:docMk/>
            <pc:sldMk cId="4217455425" sldId="1597"/>
            <ac:spMk id="3" creationId="{F35E8CBB-5A7D-4DEF-BAF7-8DD5D042F9E0}"/>
          </ac:spMkLst>
        </pc:spChg>
      </pc:sldChg>
      <pc:sldChg chg="delSp mod">
        <pc:chgData name="boB Taylor" userId="2ac94156-0040-455f-a13f-091fd330254d" providerId="ADAL" clId="{4030A594-E66C-4503-854C-911922EFEF5B}" dt="2020-05-11T20:03:14.525" v="24" actId="478"/>
        <pc:sldMkLst>
          <pc:docMk/>
          <pc:sldMk cId="68032331" sldId="1598"/>
        </pc:sldMkLst>
        <pc:spChg chg="del">
          <ac:chgData name="boB Taylor" userId="2ac94156-0040-455f-a13f-091fd330254d" providerId="ADAL" clId="{4030A594-E66C-4503-854C-911922EFEF5B}" dt="2020-05-11T20:03:14.525" v="24" actId="478"/>
          <ac:spMkLst>
            <pc:docMk/>
            <pc:sldMk cId="68032331" sldId="1598"/>
            <ac:spMk id="3" creationId="{F35E8CBB-5A7D-4DEF-BAF7-8DD5D042F9E0}"/>
          </ac:spMkLst>
        </pc:spChg>
      </pc:sldChg>
      <pc:sldChg chg="delSp mod">
        <pc:chgData name="boB Taylor" userId="2ac94156-0040-455f-a13f-091fd330254d" providerId="ADAL" clId="{4030A594-E66C-4503-854C-911922EFEF5B}" dt="2020-05-11T20:03:18.796" v="25" actId="478"/>
        <pc:sldMkLst>
          <pc:docMk/>
          <pc:sldMk cId="2596501681" sldId="1599"/>
        </pc:sldMkLst>
        <pc:spChg chg="del">
          <ac:chgData name="boB Taylor" userId="2ac94156-0040-455f-a13f-091fd330254d" providerId="ADAL" clId="{4030A594-E66C-4503-854C-911922EFEF5B}" dt="2020-05-11T20:03:18.796" v="25" actId="478"/>
          <ac:spMkLst>
            <pc:docMk/>
            <pc:sldMk cId="2596501681" sldId="1599"/>
            <ac:spMk id="3" creationId="{F35E8CBB-5A7D-4DEF-BAF7-8DD5D042F9E0}"/>
          </ac:spMkLst>
        </pc:spChg>
      </pc:sldChg>
      <pc:sldChg chg="delSp mod">
        <pc:chgData name="boB Taylor" userId="2ac94156-0040-455f-a13f-091fd330254d" providerId="ADAL" clId="{4030A594-E66C-4503-854C-911922EFEF5B}" dt="2020-05-11T20:00:25.165" v="0" actId="478"/>
        <pc:sldMkLst>
          <pc:docMk/>
          <pc:sldMk cId="2741521458" sldId="1602"/>
        </pc:sldMkLst>
        <pc:spChg chg="del">
          <ac:chgData name="boB Taylor" userId="2ac94156-0040-455f-a13f-091fd330254d" providerId="ADAL" clId="{4030A594-E66C-4503-854C-911922EFEF5B}" dt="2020-05-11T20:00:25.165" v="0" actId="478"/>
          <ac:spMkLst>
            <pc:docMk/>
            <pc:sldMk cId="2741521458" sldId="1602"/>
            <ac:spMk id="3" creationId="{F35E8CBB-5A7D-4DEF-BAF7-8DD5D042F9E0}"/>
          </ac:spMkLst>
        </pc:spChg>
      </pc:sldChg>
      <pc:sldChg chg="delSp mod">
        <pc:chgData name="boB Taylor" userId="2ac94156-0040-455f-a13f-091fd330254d" providerId="ADAL" clId="{4030A594-E66C-4503-854C-911922EFEF5B}" dt="2020-05-11T20:03:27.849" v="26" actId="478"/>
        <pc:sldMkLst>
          <pc:docMk/>
          <pc:sldMk cId="4233881779" sldId="1603"/>
        </pc:sldMkLst>
        <pc:spChg chg="del">
          <ac:chgData name="boB Taylor" userId="2ac94156-0040-455f-a13f-091fd330254d" providerId="ADAL" clId="{4030A594-E66C-4503-854C-911922EFEF5B}" dt="2020-05-11T20:03:27.849" v="26" actId="478"/>
          <ac:spMkLst>
            <pc:docMk/>
            <pc:sldMk cId="4233881779" sldId="1603"/>
            <ac:spMk id="3" creationId="{F35E8CBB-5A7D-4DEF-BAF7-8DD5D042F9E0}"/>
          </ac:spMkLst>
        </pc:spChg>
      </pc:sldChg>
      <pc:sldChg chg="delSp mod">
        <pc:chgData name="boB Taylor" userId="2ac94156-0040-455f-a13f-091fd330254d" providerId="ADAL" clId="{4030A594-E66C-4503-854C-911922EFEF5B}" dt="2020-05-11T20:03:33.260" v="27" actId="478"/>
        <pc:sldMkLst>
          <pc:docMk/>
          <pc:sldMk cId="2247178049" sldId="1606"/>
        </pc:sldMkLst>
        <pc:spChg chg="del">
          <ac:chgData name="boB Taylor" userId="2ac94156-0040-455f-a13f-091fd330254d" providerId="ADAL" clId="{4030A594-E66C-4503-854C-911922EFEF5B}" dt="2020-05-11T20:03:33.260" v="27" actId="478"/>
          <ac:spMkLst>
            <pc:docMk/>
            <pc:sldMk cId="2247178049" sldId="1606"/>
            <ac:spMk id="3" creationId="{F35E8CBB-5A7D-4DEF-BAF7-8DD5D042F9E0}"/>
          </ac:spMkLst>
        </pc:spChg>
      </pc:sldChg>
      <pc:sldChg chg="delSp mod">
        <pc:chgData name="boB Taylor" userId="2ac94156-0040-455f-a13f-091fd330254d" providerId="ADAL" clId="{4030A594-E66C-4503-854C-911922EFEF5B}" dt="2020-05-11T20:00:36.133" v="1" actId="478"/>
        <pc:sldMkLst>
          <pc:docMk/>
          <pc:sldMk cId="1302820814" sldId="1608"/>
        </pc:sldMkLst>
        <pc:spChg chg="del">
          <ac:chgData name="boB Taylor" userId="2ac94156-0040-455f-a13f-091fd330254d" providerId="ADAL" clId="{4030A594-E66C-4503-854C-911922EFEF5B}" dt="2020-05-11T20:00:36.133" v="1" actId="478"/>
          <ac:spMkLst>
            <pc:docMk/>
            <pc:sldMk cId="1302820814" sldId="1608"/>
            <ac:spMk id="3" creationId="{F35E8CBB-5A7D-4DEF-BAF7-8DD5D042F9E0}"/>
          </ac:spMkLst>
        </pc:spChg>
      </pc:sldChg>
      <pc:sldChg chg="modSp">
        <pc:chgData name="boB Taylor" userId="2ac94156-0040-455f-a13f-091fd330254d" providerId="ADAL" clId="{4030A594-E66C-4503-854C-911922EFEF5B}" dt="2020-05-11T20:14:19.036" v="82" actId="403"/>
        <pc:sldMkLst>
          <pc:docMk/>
          <pc:sldMk cId="40536582" sldId="1609"/>
        </pc:sldMkLst>
        <pc:graphicFrameChg chg="mod">
          <ac:chgData name="boB Taylor" userId="2ac94156-0040-455f-a13f-091fd330254d" providerId="ADAL" clId="{4030A594-E66C-4503-854C-911922EFEF5B}" dt="2020-05-11T20:14:19.036" v="82" actId="403"/>
          <ac:graphicFrameMkLst>
            <pc:docMk/>
            <pc:sldMk cId="40536582" sldId="1609"/>
            <ac:graphicFrameMk id="6" creationId="{F7F91E82-7A30-446A-9AA4-56B6B8FA1E48}"/>
          </ac:graphicFrameMkLst>
        </pc:graphicFrameChg>
      </pc:sldChg>
    </pc:docChg>
  </pc:docChgLst>
  <pc:docChgLst>
    <pc:chgData name="Batuhan Yildiz" userId="90f344fc-4655-4923-aeaf-697bba59c1a7" providerId="ADAL" clId="{3BC86907-B686-4941-BE0A-4B8A1896418E}"/>
    <pc:docChg chg="undo custSel addSld delSld modSld modSection">
      <pc:chgData name="Batuhan Yildiz" userId="90f344fc-4655-4923-aeaf-697bba59c1a7" providerId="ADAL" clId="{3BC86907-B686-4941-BE0A-4B8A1896418E}" dt="2020-04-06T15:47:55.796" v="234" actId="20577"/>
      <pc:docMkLst>
        <pc:docMk/>
      </pc:docMkLst>
      <pc:sldChg chg="modSp mod modNotesTx">
        <pc:chgData name="Batuhan Yildiz" userId="90f344fc-4655-4923-aeaf-697bba59c1a7" providerId="ADAL" clId="{3BC86907-B686-4941-BE0A-4B8A1896418E}" dt="2020-04-06T15:43:03.805" v="179"/>
        <pc:sldMkLst>
          <pc:docMk/>
          <pc:sldMk cId="4267675391" sldId="531"/>
        </pc:sldMkLst>
        <pc:spChg chg="mod">
          <ac:chgData name="Batuhan Yildiz" userId="90f344fc-4655-4923-aeaf-697bba59c1a7" providerId="ADAL" clId="{3BC86907-B686-4941-BE0A-4B8A1896418E}" dt="2020-04-03T16:17:28.750" v="29" actId="20577"/>
          <ac:spMkLst>
            <pc:docMk/>
            <pc:sldMk cId="4267675391" sldId="531"/>
            <ac:spMk id="3" creationId="{8F64A22E-2B43-4FC6-AF08-0CDB3F9E9269}"/>
          </ac:spMkLst>
        </pc:spChg>
        <pc:spChg chg="mod">
          <ac:chgData name="Batuhan Yildiz" userId="90f344fc-4655-4923-aeaf-697bba59c1a7" providerId="ADAL" clId="{3BC86907-B686-4941-BE0A-4B8A1896418E}" dt="2020-04-03T16:18:22.224" v="43" actId="255"/>
          <ac:spMkLst>
            <pc:docMk/>
            <pc:sldMk cId="4267675391" sldId="531"/>
            <ac:spMk id="6" creationId="{637E159C-9ACF-48AE-927A-D5FB13695C7F}"/>
          </ac:spMkLst>
        </pc:spChg>
      </pc:sldChg>
      <pc:sldChg chg="modSp mod modNotesTx">
        <pc:chgData name="Batuhan Yildiz" userId="90f344fc-4655-4923-aeaf-697bba59c1a7" providerId="ADAL" clId="{3BC86907-B686-4941-BE0A-4B8A1896418E}" dt="2020-04-06T15:44:00.346" v="185"/>
        <pc:sldMkLst>
          <pc:docMk/>
          <pc:sldMk cId="670385602" sldId="567"/>
        </pc:sldMkLst>
        <pc:spChg chg="mod">
          <ac:chgData name="Batuhan Yildiz" userId="90f344fc-4655-4923-aeaf-697bba59c1a7" providerId="ADAL" clId="{3BC86907-B686-4941-BE0A-4B8A1896418E}" dt="2020-04-03T16:20:28.011" v="53" actId="20577"/>
          <ac:spMkLst>
            <pc:docMk/>
            <pc:sldMk cId="670385602" sldId="567"/>
            <ac:spMk id="3" creationId="{8F64A22E-2B43-4FC6-AF08-0CDB3F9E9269}"/>
          </ac:spMkLst>
        </pc:spChg>
        <pc:spChg chg="mod">
          <ac:chgData name="Batuhan Yildiz" userId="90f344fc-4655-4923-aeaf-697bba59c1a7" providerId="ADAL" clId="{3BC86907-B686-4941-BE0A-4B8A1896418E}" dt="2020-04-03T16:20:37.817" v="56" actId="113"/>
          <ac:spMkLst>
            <pc:docMk/>
            <pc:sldMk cId="670385602" sldId="567"/>
            <ac:spMk id="6" creationId="{637E159C-9ACF-48AE-927A-D5FB13695C7F}"/>
          </ac:spMkLst>
        </pc:spChg>
      </pc:sldChg>
      <pc:sldChg chg="modSp mod modNotesTx">
        <pc:chgData name="Batuhan Yildiz" userId="90f344fc-4655-4923-aeaf-697bba59c1a7" providerId="ADAL" clId="{3BC86907-B686-4941-BE0A-4B8A1896418E}" dt="2020-04-06T15:44:35.126" v="196" actId="20577"/>
        <pc:sldMkLst>
          <pc:docMk/>
          <pc:sldMk cId="2147177822" sldId="568"/>
        </pc:sldMkLst>
        <pc:spChg chg="mod">
          <ac:chgData name="Batuhan Yildiz" userId="90f344fc-4655-4923-aeaf-697bba59c1a7" providerId="ADAL" clId="{3BC86907-B686-4941-BE0A-4B8A1896418E}" dt="2020-04-03T16:31:20.212" v="72"/>
          <ac:spMkLst>
            <pc:docMk/>
            <pc:sldMk cId="2147177822" sldId="568"/>
            <ac:spMk id="2" creationId="{BC57B38C-8413-4861-A4F5-7DF656AEAD0D}"/>
          </ac:spMkLst>
        </pc:spChg>
      </pc:sldChg>
      <pc:sldChg chg="modSp mod modNotesTx">
        <pc:chgData name="Batuhan Yildiz" userId="90f344fc-4655-4923-aeaf-697bba59c1a7" providerId="ADAL" clId="{3BC86907-B686-4941-BE0A-4B8A1896418E}" dt="2020-04-06T15:45:34.308" v="211" actId="20577"/>
        <pc:sldMkLst>
          <pc:docMk/>
          <pc:sldMk cId="1487953619" sldId="574"/>
        </pc:sldMkLst>
        <pc:spChg chg="mod">
          <ac:chgData name="Batuhan Yildiz" userId="90f344fc-4655-4923-aeaf-697bba59c1a7" providerId="ADAL" clId="{3BC86907-B686-4941-BE0A-4B8A1896418E}" dt="2020-04-03T16:59:41.639" v="106" actId="20577"/>
          <ac:spMkLst>
            <pc:docMk/>
            <pc:sldMk cId="1487953619" sldId="574"/>
            <ac:spMk id="3" creationId="{8F64A22E-2B43-4FC6-AF08-0CDB3F9E9269}"/>
          </ac:spMkLst>
        </pc:spChg>
        <pc:spChg chg="mod">
          <ac:chgData name="Batuhan Yildiz" userId="90f344fc-4655-4923-aeaf-697bba59c1a7" providerId="ADAL" clId="{3BC86907-B686-4941-BE0A-4B8A1896418E}" dt="2020-04-03T17:00:01.082" v="114" actId="113"/>
          <ac:spMkLst>
            <pc:docMk/>
            <pc:sldMk cId="1487953619" sldId="574"/>
            <ac:spMk id="6" creationId="{637E159C-9ACF-48AE-927A-D5FB13695C7F}"/>
          </ac:spMkLst>
        </pc:spChg>
      </pc:sldChg>
      <pc:sldChg chg="modSp mod modNotesTx">
        <pc:chgData name="Batuhan Yildiz" userId="90f344fc-4655-4923-aeaf-697bba59c1a7" providerId="ADAL" clId="{3BC86907-B686-4941-BE0A-4B8A1896418E}" dt="2020-04-06T15:47:17.653" v="228"/>
        <pc:sldMkLst>
          <pc:docMk/>
          <pc:sldMk cId="1564438252" sldId="588"/>
        </pc:sldMkLst>
        <pc:spChg chg="mod">
          <ac:chgData name="Batuhan Yildiz" userId="90f344fc-4655-4923-aeaf-697bba59c1a7" providerId="ADAL" clId="{3BC86907-B686-4941-BE0A-4B8A1896418E}" dt="2020-04-03T17:06:56.948" v="147" actId="20577"/>
          <ac:spMkLst>
            <pc:docMk/>
            <pc:sldMk cId="1564438252" sldId="588"/>
            <ac:spMk id="3" creationId="{8F64A22E-2B43-4FC6-AF08-0CDB3F9E9269}"/>
          </ac:spMkLst>
        </pc:spChg>
        <pc:spChg chg="mod">
          <ac:chgData name="Batuhan Yildiz" userId="90f344fc-4655-4923-aeaf-697bba59c1a7" providerId="ADAL" clId="{3BC86907-B686-4941-BE0A-4B8A1896418E}" dt="2020-04-03T17:07:00.417" v="148"/>
          <ac:spMkLst>
            <pc:docMk/>
            <pc:sldMk cId="1564438252" sldId="588"/>
            <ac:spMk id="6" creationId="{637E159C-9ACF-48AE-927A-D5FB13695C7F}"/>
          </ac:spMkLst>
        </pc:spChg>
      </pc:sldChg>
      <pc:sldChg chg="del">
        <pc:chgData name="Batuhan Yildiz" userId="90f344fc-4655-4923-aeaf-697bba59c1a7" providerId="ADAL" clId="{3BC86907-B686-4941-BE0A-4B8A1896418E}" dt="2020-04-03T16:47:31.614" v="95" actId="47"/>
        <pc:sldMkLst>
          <pc:docMk/>
          <pc:sldMk cId="2725246263" sldId="589"/>
        </pc:sldMkLst>
      </pc:sldChg>
      <pc:sldChg chg="modNotesTx">
        <pc:chgData name="Batuhan Yildiz" userId="90f344fc-4655-4923-aeaf-697bba59c1a7" providerId="ADAL" clId="{3BC86907-B686-4941-BE0A-4B8A1896418E}" dt="2020-04-06T15:41:59.959" v="175"/>
        <pc:sldMkLst>
          <pc:docMk/>
          <pc:sldMk cId="2678916652" sldId="1553"/>
        </pc:sldMkLst>
      </pc:sldChg>
      <pc:sldChg chg="modSp mod modNotesTx">
        <pc:chgData name="Batuhan Yildiz" userId="90f344fc-4655-4923-aeaf-697bba59c1a7" providerId="ADAL" clId="{3BC86907-B686-4941-BE0A-4B8A1896418E}" dt="2020-04-06T15:46:22.130" v="224"/>
        <pc:sldMkLst>
          <pc:docMk/>
          <pc:sldMk cId="885631386" sldId="1600"/>
        </pc:sldMkLst>
        <pc:spChg chg="mod">
          <ac:chgData name="Batuhan Yildiz" userId="90f344fc-4655-4923-aeaf-697bba59c1a7" providerId="ADAL" clId="{3BC86907-B686-4941-BE0A-4B8A1896418E}" dt="2020-04-03T17:04:11.296" v="130" actId="20577"/>
          <ac:spMkLst>
            <pc:docMk/>
            <pc:sldMk cId="885631386" sldId="1600"/>
            <ac:spMk id="3" creationId="{8F64A22E-2B43-4FC6-AF08-0CDB3F9E9269}"/>
          </ac:spMkLst>
        </pc:spChg>
        <pc:spChg chg="mod">
          <ac:chgData name="Batuhan Yildiz" userId="90f344fc-4655-4923-aeaf-697bba59c1a7" providerId="ADAL" clId="{3BC86907-B686-4941-BE0A-4B8A1896418E}" dt="2020-04-03T17:04:14.434" v="131"/>
          <ac:spMkLst>
            <pc:docMk/>
            <pc:sldMk cId="885631386" sldId="1600"/>
            <ac:spMk id="6" creationId="{637E159C-9ACF-48AE-927A-D5FB13695C7F}"/>
          </ac:spMkLst>
        </pc:spChg>
      </pc:sldChg>
      <pc:sldChg chg="del">
        <pc:chgData name="Batuhan Yildiz" userId="90f344fc-4655-4923-aeaf-697bba59c1a7" providerId="ADAL" clId="{3BC86907-B686-4941-BE0A-4B8A1896418E}" dt="2020-04-03T16:46:17.866" v="81" actId="2696"/>
        <pc:sldMkLst>
          <pc:docMk/>
          <pc:sldMk cId="3999315873" sldId="1601"/>
        </pc:sldMkLst>
      </pc:sldChg>
      <pc:sldChg chg="modSp add mod modNotesTx">
        <pc:chgData name="Batuhan Yildiz" userId="90f344fc-4655-4923-aeaf-697bba59c1a7" providerId="ADAL" clId="{3BC86907-B686-4941-BE0A-4B8A1896418E}" dt="2020-04-06T15:47:55.796" v="234" actId="20577"/>
        <pc:sldMkLst>
          <pc:docMk/>
          <pc:sldMk cId="3999315873" sldId="1611"/>
        </pc:sldMkLst>
        <pc:spChg chg="mod">
          <ac:chgData name="Batuhan Yildiz" userId="90f344fc-4655-4923-aeaf-697bba59c1a7" providerId="ADAL" clId="{3BC86907-B686-4941-BE0A-4B8A1896418E}" dt="2020-04-03T16:46:42.857" v="86" actId="21"/>
          <ac:spMkLst>
            <pc:docMk/>
            <pc:sldMk cId="3999315873" sldId="1611"/>
            <ac:spMk id="2" creationId="{BC57B38C-8413-4861-A4F5-7DF656AEAD0D}"/>
          </ac:spMkLst>
        </pc:spChg>
        <pc:spChg chg="mod">
          <ac:chgData name="Batuhan Yildiz" userId="90f344fc-4655-4923-aeaf-697bba59c1a7" providerId="ADAL" clId="{3BC86907-B686-4941-BE0A-4B8A1896418E}" dt="2020-04-03T16:47:35.708" v="96" actId="6549"/>
          <ac:spMkLst>
            <pc:docMk/>
            <pc:sldMk cId="3999315873" sldId="1611"/>
            <ac:spMk id="3" creationId="{4897B8F8-26DF-42FB-ACB0-59929F1C2344}"/>
          </ac:spMkLst>
        </pc:spChg>
      </pc:sldChg>
    </pc:docChg>
  </pc:docChgLst>
  <pc:docChgLst>
    <pc:chgData name="Batuhan Yildiz" userId="90f344fc-4655-4923-aeaf-697bba59c1a7" providerId="ADAL" clId="{DEC41FCA-8E52-4E95-897D-74AD214D55EC}"/>
    <pc:docChg chg="undo custSel addSld delSld modSld modSection">
      <pc:chgData name="Batuhan Yildiz" userId="90f344fc-4655-4923-aeaf-697bba59c1a7" providerId="ADAL" clId="{DEC41FCA-8E52-4E95-897D-74AD214D55EC}" dt="2020-05-22T06:29:53.248" v="295" actId="13782"/>
      <pc:docMkLst>
        <pc:docMk/>
      </pc:docMkLst>
      <pc:sldChg chg="modSp del mod">
        <pc:chgData name="Batuhan Yildiz" userId="90f344fc-4655-4923-aeaf-697bba59c1a7" providerId="ADAL" clId="{DEC41FCA-8E52-4E95-897D-74AD214D55EC}" dt="2020-05-22T03:16:49.677" v="33" actId="47"/>
        <pc:sldMkLst>
          <pc:docMk/>
          <pc:sldMk cId="3735096506" sldId="563"/>
        </pc:sldMkLst>
        <pc:spChg chg="mod">
          <ac:chgData name="Batuhan Yildiz" userId="90f344fc-4655-4923-aeaf-697bba59c1a7" providerId="ADAL" clId="{DEC41FCA-8E52-4E95-897D-74AD214D55EC}" dt="2020-05-22T03:14:48.220" v="26" actId="6549"/>
          <ac:spMkLst>
            <pc:docMk/>
            <pc:sldMk cId="3735096506" sldId="563"/>
            <ac:spMk id="6" creationId="{FC3BEF4C-2CE2-4542-8E74-48FE34AC9EA6}"/>
          </ac:spMkLst>
        </pc:spChg>
      </pc:sldChg>
      <pc:sldChg chg="delSp mod">
        <pc:chgData name="Batuhan Yildiz" userId="90f344fc-4655-4923-aeaf-697bba59c1a7" providerId="ADAL" clId="{DEC41FCA-8E52-4E95-897D-74AD214D55EC}" dt="2020-05-22T06:17:19.376" v="121" actId="478"/>
        <pc:sldMkLst>
          <pc:docMk/>
          <pc:sldMk cId="4221783869" sldId="566"/>
        </pc:sldMkLst>
        <pc:spChg chg="del">
          <ac:chgData name="Batuhan Yildiz" userId="90f344fc-4655-4923-aeaf-697bba59c1a7" providerId="ADAL" clId="{DEC41FCA-8E52-4E95-897D-74AD214D55EC}" dt="2020-05-22T06:17:19.376" v="121" actId="478"/>
          <ac:spMkLst>
            <pc:docMk/>
            <pc:sldMk cId="4221783869" sldId="566"/>
            <ac:spMk id="4" creationId="{F3616A99-090F-45E1-9334-58D58B148205}"/>
          </ac:spMkLst>
        </pc:spChg>
      </pc:sldChg>
      <pc:sldChg chg="del">
        <pc:chgData name="Batuhan Yildiz" userId="90f344fc-4655-4923-aeaf-697bba59c1a7" providerId="ADAL" clId="{DEC41FCA-8E52-4E95-897D-74AD214D55EC}" dt="2020-05-22T06:24:09.880" v="254" actId="47"/>
        <pc:sldMkLst>
          <pc:docMk/>
          <pc:sldMk cId="2346840044" sldId="570"/>
        </pc:sldMkLst>
      </pc:sldChg>
      <pc:sldChg chg="modSp">
        <pc:chgData name="Batuhan Yildiz" userId="90f344fc-4655-4923-aeaf-697bba59c1a7" providerId="ADAL" clId="{DEC41FCA-8E52-4E95-897D-74AD214D55EC}" dt="2020-05-22T06:20:11.712" v="213" actId="12100"/>
        <pc:sldMkLst>
          <pc:docMk/>
          <pc:sldMk cId="4248838292" sldId="573"/>
        </pc:sldMkLst>
        <pc:graphicFrameChg chg="mod">
          <ac:chgData name="Batuhan Yildiz" userId="90f344fc-4655-4923-aeaf-697bba59c1a7" providerId="ADAL" clId="{DEC41FCA-8E52-4E95-897D-74AD214D55EC}" dt="2020-05-22T06:20:11.712" v="213" actId="12100"/>
          <ac:graphicFrameMkLst>
            <pc:docMk/>
            <pc:sldMk cId="4248838292" sldId="573"/>
            <ac:graphicFrameMk id="9" creationId="{064B38ED-22CB-4783-9539-5965103DA75C}"/>
          </ac:graphicFrameMkLst>
        </pc:graphicFrameChg>
      </pc:sldChg>
      <pc:sldChg chg="modSp">
        <pc:chgData name="Batuhan Yildiz" userId="90f344fc-4655-4923-aeaf-697bba59c1a7" providerId="ADAL" clId="{DEC41FCA-8E52-4E95-897D-74AD214D55EC}" dt="2020-05-22T06:23:12.638" v="247" actId="12100"/>
        <pc:sldMkLst>
          <pc:docMk/>
          <pc:sldMk cId="4206133277" sldId="577"/>
        </pc:sldMkLst>
        <pc:graphicFrameChg chg="mod">
          <ac:chgData name="Batuhan Yildiz" userId="90f344fc-4655-4923-aeaf-697bba59c1a7" providerId="ADAL" clId="{DEC41FCA-8E52-4E95-897D-74AD214D55EC}" dt="2020-05-22T06:23:12.638" v="247" actId="12100"/>
          <ac:graphicFrameMkLst>
            <pc:docMk/>
            <pc:sldMk cId="4206133277" sldId="577"/>
            <ac:graphicFrameMk id="3" creationId="{9484E1FE-7534-495E-863C-657A46F5E628}"/>
          </ac:graphicFrameMkLst>
        </pc:graphicFrameChg>
      </pc:sldChg>
      <pc:sldChg chg="del">
        <pc:chgData name="Batuhan Yildiz" userId="90f344fc-4655-4923-aeaf-697bba59c1a7" providerId="ADAL" clId="{DEC41FCA-8E52-4E95-897D-74AD214D55EC}" dt="2020-05-22T06:25:26.561" v="265" actId="47"/>
        <pc:sldMkLst>
          <pc:docMk/>
          <pc:sldMk cId="2444463328" sldId="584"/>
        </pc:sldMkLst>
      </pc:sldChg>
      <pc:sldChg chg="modSp mod modClrScheme chgLayout">
        <pc:chgData name="Batuhan Yildiz" userId="90f344fc-4655-4923-aeaf-697bba59c1a7" providerId="ADAL" clId="{DEC41FCA-8E52-4E95-897D-74AD214D55EC}" dt="2020-05-22T06:28:05.153" v="285" actId="14100"/>
        <pc:sldMkLst>
          <pc:docMk/>
          <pc:sldMk cId="1635185343" sldId="587"/>
        </pc:sldMkLst>
        <pc:spChg chg="mod ord">
          <ac:chgData name="Batuhan Yildiz" userId="90f344fc-4655-4923-aeaf-697bba59c1a7" providerId="ADAL" clId="{DEC41FCA-8E52-4E95-897D-74AD214D55EC}" dt="2020-05-22T06:27:56.652" v="284" actId="700"/>
          <ac:spMkLst>
            <pc:docMk/>
            <pc:sldMk cId="1635185343" sldId="587"/>
            <ac:spMk id="2" creationId="{EB67312A-9819-43C6-8D84-D9136E6CFFCC}"/>
          </ac:spMkLst>
        </pc:spChg>
        <pc:graphicFrameChg chg="mod ord">
          <ac:chgData name="Batuhan Yildiz" userId="90f344fc-4655-4923-aeaf-697bba59c1a7" providerId="ADAL" clId="{DEC41FCA-8E52-4E95-897D-74AD214D55EC}" dt="2020-05-22T06:28:05.153" v="285" actId="14100"/>
          <ac:graphicFrameMkLst>
            <pc:docMk/>
            <pc:sldMk cId="1635185343" sldId="587"/>
            <ac:graphicFrameMk id="4" creationId="{5EB67473-B9AC-42FF-84B1-0BB13E3BE1FF}"/>
          </ac:graphicFrameMkLst>
        </pc:graphicFrameChg>
      </pc:sldChg>
      <pc:sldChg chg="modSp mod modClrScheme chgLayout">
        <pc:chgData name="Batuhan Yildiz" userId="90f344fc-4655-4923-aeaf-697bba59c1a7" providerId="ADAL" clId="{DEC41FCA-8E52-4E95-897D-74AD214D55EC}" dt="2020-05-22T06:20:55.734" v="218" actId="2711"/>
        <pc:sldMkLst>
          <pc:docMk/>
          <pc:sldMk cId="4116196337" sldId="597"/>
        </pc:sldMkLst>
        <pc:spChg chg="mod ord">
          <ac:chgData name="Batuhan Yildiz" userId="90f344fc-4655-4923-aeaf-697bba59c1a7" providerId="ADAL" clId="{DEC41FCA-8E52-4E95-897D-74AD214D55EC}" dt="2020-05-22T06:20:25.738" v="214" actId="700"/>
          <ac:spMkLst>
            <pc:docMk/>
            <pc:sldMk cId="4116196337" sldId="597"/>
            <ac:spMk id="2" creationId="{EB67312A-9819-43C6-8D84-D9136E6CFFCC}"/>
          </ac:spMkLst>
        </pc:spChg>
        <pc:graphicFrameChg chg="mod ord">
          <ac:chgData name="Batuhan Yildiz" userId="90f344fc-4655-4923-aeaf-697bba59c1a7" providerId="ADAL" clId="{DEC41FCA-8E52-4E95-897D-74AD214D55EC}" dt="2020-05-22T06:20:55.734" v="218" actId="2711"/>
          <ac:graphicFrameMkLst>
            <pc:docMk/>
            <pc:sldMk cId="4116196337" sldId="597"/>
            <ac:graphicFrameMk id="5" creationId="{78BFB731-FB43-4ACF-BB33-E13D7229B2EF}"/>
          </ac:graphicFrameMkLst>
        </pc:graphicFrameChg>
        <pc:picChg chg="mod">
          <ac:chgData name="Batuhan Yildiz" userId="90f344fc-4655-4923-aeaf-697bba59c1a7" providerId="ADAL" clId="{DEC41FCA-8E52-4E95-897D-74AD214D55EC}" dt="2020-05-22T06:20:32.381" v="215" actId="1076"/>
          <ac:picMkLst>
            <pc:docMk/>
            <pc:sldMk cId="4116196337" sldId="597"/>
            <ac:picMk id="9" creationId="{1DA718B7-BF33-4BA4-8C5E-BCEE7681F0D8}"/>
          </ac:picMkLst>
        </pc:picChg>
      </pc:sldChg>
      <pc:sldChg chg="modSp mod chgLayout">
        <pc:chgData name="Batuhan Yildiz" userId="90f344fc-4655-4923-aeaf-697bba59c1a7" providerId="ADAL" clId="{DEC41FCA-8E52-4E95-897D-74AD214D55EC}" dt="2020-05-22T03:12:20.459" v="15" actId="14100"/>
        <pc:sldMkLst>
          <pc:docMk/>
          <pc:sldMk cId="883934879" sldId="598"/>
        </pc:sldMkLst>
        <pc:spChg chg="mod ord">
          <ac:chgData name="Batuhan Yildiz" userId="90f344fc-4655-4923-aeaf-697bba59c1a7" providerId="ADAL" clId="{DEC41FCA-8E52-4E95-897D-74AD214D55EC}" dt="2020-05-22T03:12:09.134" v="14" actId="700"/>
          <ac:spMkLst>
            <pc:docMk/>
            <pc:sldMk cId="883934879" sldId="598"/>
            <ac:spMk id="2" creationId="{EB67312A-9819-43C6-8D84-D9136E6CFFCC}"/>
          </ac:spMkLst>
        </pc:spChg>
        <pc:spChg chg="mod ord">
          <ac:chgData name="Batuhan Yildiz" userId="90f344fc-4655-4923-aeaf-697bba59c1a7" providerId="ADAL" clId="{DEC41FCA-8E52-4E95-897D-74AD214D55EC}" dt="2020-05-22T03:12:09.134" v="14" actId="700"/>
          <ac:spMkLst>
            <pc:docMk/>
            <pc:sldMk cId="883934879" sldId="598"/>
            <ac:spMk id="3" creationId="{F35E8CBB-5A7D-4DEF-BAF7-8DD5D042F9E0}"/>
          </ac:spMkLst>
        </pc:spChg>
        <pc:graphicFrameChg chg="mod ord">
          <ac:chgData name="Batuhan Yildiz" userId="90f344fc-4655-4923-aeaf-697bba59c1a7" providerId="ADAL" clId="{DEC41FCA-8E52-4E95-897D-74AD214D55EC}" dt="2020-05-22T03:12:20.459" v="15" actId="14100"/>
          <ac:graphicFrameMkLst>
            <pc:docMk/>
            <pc:sldMk cId="883934879" sldId="598"/>
            <ac:graphicFrameMk id="6" creationId="{F51B4517-2B82-4973-8EDD-74FA4FBD904D}"/>
          </ac:graphicFrameMkLst>
        </pc:graphicFrameChg>
      </pc:sldChg>
      <pc:sldChg chg="addSp delSp modSp mod chgLayout">
        <pc:chgData name="Batuhan Yildiz" userId="90f344fc-4655-4923-aeaf-697bba59c1a7" providerId="ADAL" clId="{DEC41FCA-8E52-4E95-897D-74AD214D55EC}" dt="2020-05-22T06:21:17.940" v="220" actId="700"/>
        <pc:sldMkLst>
          <pc:docMk/>
          <pc:sldMk cId="1416701595" sldId="599"/>
        </pc:sldMkLst>
        <pc:spChg chg="mod ord">
          <ac:chgData name="Batuhan Yildiz" userId="90f344fc-4655-4923-aeaf-697bba59c1a7" providerId="ADAL" clId="{DEC41FCA-8E52-4E95-897D-74AD214D55EC}" dt="2020-05-22T06:21:17.940" v="220" actId="700"/>
          <ac:spMkLst>
            <pc:docMk/>
            <pc:sldMk cId="1416701595" sldId="599"/>
            <ac:spMk id="2" creationId="{EB67312A-9819-43C6-8D84-D9136E6CFFCC}"/>
          </ac:spMkLst>
        </pc:spChg>
        <pc:spChg chg="mod ord">
          <ac:chgData name="Batuhan Yildiz" userId="90f344fc-4655-4923-aeaf-697bba59c1a7" providerId="ADAL" clId="{DEC41FCA-8E52-4E95-897D-74AD214D55EC}" dt="2020-05-22T06:21:17.940" v="220" actId="700"/>
          <ac:spMkLst>
            <pc:docMk/>
            <pc:sldMk cId="1416701595" sldId="599"/>
            <ac:spMk id="3" creationId="{F35E8CBB-5A7D-4DEF-BAF7-8DD5D042F9E0}"/>
          </ac:spMkLst>
        </pc:spChg>
        <pc:spChg chg="del">
          <ac:chgData name="Batuhan Yildiz" userId="90f344fc-4655-4923-aeaf-697bba59c1a7" providerId="ADAL" clId="{DEC41FCA-8E52-4E95-897D-74AD214D55EC}" dt="2020-05-22T06:21:17.940" v="220" actId="700"/>
          <ac:spMkLst>
            <pc:docMk/>
            <pc:sldMk cId="1416701595" sldId="599"/>
            <ac:spMk id="4" creationId="{F3616A99-090F-45E1-9334-58D58B148205}"/>
          </ac:spMkLst>
        </pc:spChg>
        <pc:spChg chg="add mod ord">
          <ac:chgData name="Batuhan Yildiz" userId="90f344fc-4655-4923-aeaf-697bba59c1a7" providerId="ADAL" clId="{DEC41FCA-8E52-4E95-897D-74AD214D55EC}" dt="2020-05-22T06:21:17.940" v="220" actId="700"/>
          <ac:spMkLst>
            <pc:docMk/>
            <pc:sldMk cId="1416701595" sldId="599"/>
            <ac:spMk id="6" creationId="{7A7774BC-E9FC-4B6E-AC5F-A0DF537DBF04}"/>
          </ac:spMkLst>
        </pc:spChg>
        <pc:graphicFrameChg chg="modGraphic">
          <ac:chgData name="Batuhan Yildiz" userId="90f344fc-4655-4923-aeaf-697bba59c1a7" providerId="ADAL" clId="{DEC41FCA-8E52-4E95-897D-74AD214D55EC}" dt="2020-05-22T06:21:09.586" v="219" actId="12385"/>
          <ac:graphicFrameMkLst>
            <pc:docMk/>
            <pc:sldMk cId="1416701595" sldId="599"/>
            <ac:graphicFrameMk id="5" creationId="{114957DB-27ED-4F3E-B9CD-0E84DE317AA5}"/>
          </ac:graphicFrameMkLst>
        </pc:graphicFrameChg>
      </pc:sldChg>
      <pc:sldChg chg="modSp mod chgLayout">
        <pc:chgData name="Batuhan Yildiz" userId="90f344fc-4655-4923-aeaf-697bba59c1a7" providerId="ADAL" clId="{DEC41FCA-8E52-4E95-897D-74AD214D55EC}" dt="2020-05-22T06:22:04.748" v="226" actId="700"/>
        <pc:sldMkLst>
          <pc:docMk/>
          <pc:sldMk cId="72948517" sldId="1544"/>
        </pc:sldMkLst>
        <pc:spChg chg="mod ord">
          <ac:chgData name="Batuhan Yildiz" userId="90f344fc-4655-4923-aeaf-697bba59c1a7" providerId="ADAL" clId="{DEC41FCA-8E52-4E95-897D-74AD214D55EC}" dt="2020-05-22T06:22:04.748" v="226" actId="700"/>
          <ac:spMkLst>
            <pc:docMk/>
            <pc:sldMk cId="72948517" sldId="1544"/>
            <ac:spMk id="2" creationId="{EB67312A-9819-43C6-8D84-D9136E6CFFCC}"/>
          </ac:spMkLst>
        </pc:spChg>
        <pc:spChg chg="mod ord">
          <ac:chgData name="Batuhan Yildiz" userId="90f344fc-4655-4923-aeaf-697bba59c1a7" providerId="ADAL" clId="{DEC41FCA-8E52-4E95-897D-74AD214D55EC}" dt="2020-05-22T06:22:04.748" v="226" actId="700"/>
          <ac:spMkLst>
            <pc:docMk/>
            <pc:sldMk cId="72948517" sldId="1544"/>
            <ac:spMk id="3" creationId="{F35E8CBB-5A7D-4DEF-BAF7-8DD5D042F9E0}"/>
          </ac:spMkLst>
        </pc:spChg>
        <pc:graphicFrameChg chg="mod ord modGraphic">
          <ac:chgData name="Batuhan Yildiz" userId="90f344fc-4655-4923-aeaf-697bba59c1a7" providerId="ADAL" clId="{DEC41FCA-8E52-4E95-897D-74AD214D55EC}" dt="2020-05-22T06:22:04.748" v="226" actId="700"/>
          <ac:graphicFrameMkLst>
            <pc:docMk/>
            <pc:sldMk cId="72948517" sldId="1544"/>
            <ac:graphicFrameMk id="5" creationId="{70C38B18-CC1E-44C0-9BF6-3B3D4B728BD9}"/>
          </ac:graphicFrameMkLst>
        </pc:graphicFrameChg>
      </pc:sldChg>
      <pc:sldChg chg="modSp mod modClrScheme chgLayout">
        <pc:chgData name="Batuhan Yildiz" userId="90f344fc-4655-4923-aeaf-697bba59c1a7" providerId="ADAL" clId="{DEC41FCA-8E52-4E95-897D-74AD214D55EC}" dt="2020-05-22T06:22:30.860" v="229" actId="700"/>
        <pc:sldMkLst>
          <pc:docMk/>
          <pc:sldMk cId="1844264441" sldId="1546"/>
        </pc:sldMkLst>
        <pc:spChg chg="mod ord">
          <ac:chgData name="Batuhan Yildiz" userId="90f344fc-4655-4923-aeaf-697bba59c1a7" providerId="ADAL" clId="{DEC41FCA-8E52-4E95-897D-74AD214D55EC}" dt="2020-05-22T06:22:30.860" v="229" actId="700"/>
          <ac:spMkLst>
            <pc:docMk/>
            <pc:sldMk cId="1844264441" sldId="1546"/>
            <ac:spMk id="2" creationId="{EB67312A-9819-43C6-8D84-D9136E6CFFCC}"/>
          </ac:spMkLst>
        </pc:spChg>
        <pc:spChg chg="mod ord">
          <ac:chgData name="Batuhan Yildiz" userId="90f344fc-4655-4923-aeaf-697bba59c1a7" providerId="ADAL" clId="{DEC41FCA-8E52-4E95-897D-74AD214D55EC}" dt="2020-05-22T06:22:30.860" v="229" actId="700"/>
          <ac:spMkLst>
            <pc:docMk/>
            <pc:sldMk cId="1844264441" sldId="1546"/>
            <ac:spMk id="4" creationId="{F3616A99-090F-45E1-9334-58D58B148205}"/>
          </ac:spMkLst>
        </pc:spChg>
        <pc:graphicFrameChg chg="mod modGraphic">
          <ac:chgData name="Batuhan Yildiz" userId="90f344fc-4655-4923-aeaf-697bba59c1a7" providerId="ADAL" clId="{DEC41FCA-8E52-4E95-897D-74AD214D55EC}" dt="2020-05-22T06:22:24.589" v="228" actId="1076"/>
          <ac:graphicFrameMkLst>
            <pc:docMk/>
            <pc:sldMk cId="1844264441" sldId="1546"/>
            <ac:graphicFrameMk id="6" creationId="{E626F32D-55D9-46C8-B921-8D7923DE8C88}"/>
          </ac:graphicFrameMkLst>
        </pc:graphicFrameChg>
      </pc:sldChg>
      <pc:sldChg chg="modSp mod chgLayout">
        <pc:chgData name="Batuhan Yildiz" userId="90f344fc-4655-4923-aeaf-697bba59c1a7" providerId="ADAL" clId="{DEC41FCA-8E52-4E95-897D-74AD214D55EC}" dt="2020-05-22T03:12:09.134" v="14" actId="700"/>
        <pc:sldMkLst>
          <pc:docMk/>
          <pc:sldMk cId="2591313168" sldId="1551"/>
        </pc:sldMkLst>
        <pc:spChg chg="mod ord">
          <ac:chgData name="Batuhan Yildiz" userId="90f344fc-4655-4923-aeaf-697bba59c1a7" providerId="ADAL" clId="{DEC41FCA-8E52-4E95-897D-74AD214D55EC}" dt="2020-05-22T03:12:09.134" v="14" actId="700"/>
          <ac:spMkLst>
            <pc:docMk/>
            <pc:sldMk cId="2591313168" sldId="1551"/>
            <ac:spMk id="2" creationId="{EB67312A-9819-43C6-8D84-D9136E6CFFCC}"/>
          </ac:spMkLst>
        </pc:spChg>
        <pc:spChg chg="mod ord">
          <ac:chgData name="Batuhan Yildiz" userId="90f344fc-4655-4923-aeaf-697bba59c1a7" providerId="ADAL" clId="{DEC41FCA-8E52-4E95-897D-74AD214D55EC}" dt="2020-05-22T03:12:09.134" v="14" actId="700"/>
          <ac:spMkLst>
            <pc:docMk/>
            <pc:sldMk cId="2591313168" sldId="1551"/>
            <ac:spMk id="3" creationId="{F35E8CBB-5A7D-4DEF-BAF7-8DD5D042F9E0}"/>
          </ac:spMkLst>
        </pc:spChg>
        <pc:graphicFrameChg chg="mod ord">
          <ac:chgData name="Batuhan Yildiz" userId="90f344fc-4655-4923-aeaf-697bba59c1a7" providerId="ADAL" clId="{DEC41FCA-8E52-4E95-897D-74AD214D55EC}" dt="2020-05-22T03:12:09.134" v="14" actId="700"/>
          <ac:graphicFrameMkLst>
            <pc:docMk/>
            <pc:sldMk cId="2591313168" sldId="1551"/>
            <ac:graphicFrameMk id="5" creationId="{A1D15659-A07D-4733-A7BC-CA75EFC1B0E6}"/>
          </ac:graphicFrameMkLst>
        </pc:graphicFrameChg>
      </pc:sldChg>
      <pc:sldChg chg="modSp">
        <pc:chgData name="Batuhan Yildiz" userId="90f344fc-4655-4923-aeaf-697bba59c1a7" providerId="ADAL" clId="{DEC41FCA-8E52-4E95-897D-74AD214D55EC}" dt="2020-05-22T03:13:09.919" v="17" actId="12100"/>
        <pc:sldMkLst>
          <pc:docMk/>
          <pc:sldMk cId="3965515432" sldId="1554"/>
        </pc:sldMkLst>
        <pc:graphicFrameChg chg="mod">
          <ac:chgData name="Batuhan Yildiz" userId="90f344fc-4655-4923-aeaf-697bba59c1a7" providerId="ADAL" clId="{DEC41FCA-8E52-4E95-897D-74AD214D55EC}" dt="2020-05-22T03:13:09.919" v="17" actId="12100"/>
          <ac:graphicFrameMkLst>
            <pc:docMk/>
            <pc:sldMk cId="3965515432" sldId="1554"/>
            <ac:graphicFrameMk id="7" creationId="{6825BFF4-6D60-4890-AEF7-C5905B998204}"/>
          </ac:graphicFrameMkLst>
        </pc:graphicFrameChg>
      </pc:sldChg>
      <pc:sldChg chg="delSp modSp mod">
        <pc:chgData name="Batuhan Yildiz" userId="90f344fc-4655-4923-aeaf-697bba59c1a7" providerId="ADAL" clId="{DEC41FCA-8E52-4E95-897D-74AD214D55EC}" dt="2020-05-22T03:13:35.566" v="20" actId="14100"/>
        <pc:sldMkLst>
          <pc:docMk/>
          <pc:sldMk cId="3998312020" sldId="1555"/>
        </pc:sldMkLst>
        <pc:spChg chg="del">
          <ac:chgData name="Batuhan Yildiz" userId="90f344fc-4655-4923-aeaf-697bba59c1a7" providerId="ADAL" clId="{DEC41FCA-8E52-4E95-897D-74AD214D55EC}" dt="2020-05-22T03:13:22.838" v="18" actId="478"/>
          <ac:spMkLst>
            <pc:docMk/>
            <pc:sldMk cId="3998312020" sldId="1555"/>
            <ac:spMk id="3" creationId="{F35E8CBB-5A7D-4DEF-BAF7-8DD5D042F9E0}"/>
          </ac:spMkLst>
        </pc:spChg>
        <pc:graphicFrameChg chg="mod">
          <ac:chgData name="Batuhan Yildiz" userId="90f344fc-4655-4923-aeaf-697bba59c1a7" providerId="ADAL" clId="{DEC41FCA-8E52-4E95-897D-74AD214D55EC}" dt="2020-05-22T03:13:35.566" v="20" actId="14100"/>
          <ac:graphicFrameMkLst>
            <pc:docMk/>
            <pc:sldMk cId="3998312020" sldId="1555"/>
            <ac:graphicFrameMk id="5" creationId="{66AE8D0F-0C1A-4425-A31A-630369385BC7}"/>
          </ac:graphicFrameMkLst>
        </pc:graphicFrameChg>
      </pc:sldChg>
      <pc:sldChg chg="del">
        <pc:chgData name="Batuhan Yildiz" userId="90f344fc-4655-4923-aeaf-697bba59c1a7" providerId="ADAL" clId="{DEC41FCA-8E52-4E95-897D-74AD214D55EC}" dt="2020-05-22T03:23:08.744" v="89" actId="47"/>
        <pc:sldMkLst>
          <pc:docMk/>
          <pc:sldMk cId="1161100183" sldId="1561"/>
        </pc:sldMkLst>
      </pc:sldChg>
      <pc:sldChg chg="modSp mod">
        <pc:chgData name="Batuhan Yildiz" userId="90f344fc-4655-4923-aeaf-697bba59c1a7" providerId="ADAL" clId="{DEC41FCA-8E52-4E95-897D-74AD214D55EC}" dt="2020-05-22T06:16:22.001" v="107" actId="166"/>
        <pc:sldMkLst>
          <pc:docMk/>
          <pc:sldMk cId="2098398432" sldId="1565"/>
        </pc:sldMkLst>
        <pc:spChg chg="ord">
          <ac:chgData name="Batuhan Yildiz" userId="90f344fc-4655-4923-aeaf-697bba59c1a7" providerId="ADAL" clId="{DEC41FCA-8E52-4E95-897D-74AD214D55EC}" dt="2020-05-22T06:16:22.001" v="107" actId="166"/>
          <ac:spMkLst>
            <pc:docMk/>
            <pc:sldMk cId="2098398432" sldId="1565"/>
            <ac:spMk id="4" creationId="{F3616A99-090F-45E1-9334-58D58B148205}"/>
          </ac:spMkLst>
        </pc:spChg>
        <pc:spChg chg="ord">
          <ac:chgData name="Batuhan Yildiz" userId="90f344fc-4655-4923-aeaf-697bba59c1a7" providerId="ADAL" clId="{DEC41FCA-8E52-4E95-897D-74AD214D55EC}" dt="2020-05-22T06:15:57.254" v="106" actId="166"/>
          <ac:spMkLst>
            <pc:docMk/>
            <pc:sldMk cId="2098398432" sldId="1565"/>
            <ac:spMk id="17" creationId="{C6192F67-CF00-44C4-8A6B-02127A584732}"/>
          </ac:spMkLst>
        </pc:spChg>
        <pc:spChg chg="ord">
          <ac:chgData name="Batuhan Yildiz" userId="90f344fc-4655-4923-aeaf-697bba59c1a7" providerId="ADAL" clId="{DEC41FCA-8E52-4E95-897D-74AD214D55EC}" dt="2020-05-22T06:13:11.251" v="93" actId="167"/>
          <ac:spMkLst>
            <pc:docMk/>
            <pc:sldMk cId="2098398432" sldId="1565"/>
            <ac:spMk id="19" creationId="{A7056B7B-BE57-49C1-B34D-391CE262A112}"/>
          </ac:spMkLst>
        </pc:spChg>
        <pc:spChg chg="mod">
          <ac:chgData name="Batuhan Yildiz" userId="90f344fc-4655-4923-aeaf-697bba59c1a7" providerId="ADAL" clId="{DEC41FCA-8E52-4E95-897D-74AD214D55EC}" dt="2020-05-22T06:14:51.645" v="101" actId="1076"/>
          <ac:spMkLst>
            <pc:docMk/>
            <pc:sldMk cId="2098398432" sldId="1565"/>
            <ac:spMk id="21" creationId="{62A502C9-7DC7-41A5-A824-4784377E9CE4}"/>
          </ac:spMkLst>
        </pc:spChg>
        <pc:spChg chg="mod">
          <ac:chgData name="Batuhan Yildiz" userId="90f344fc-4655-4923-aeaf-697bba59c1a7" providerId="ADAL" clId="{DEC41FCA-8E52-4E95-897D-74AD214D55EC}" dt="2020-05-22T06:14:58.053" v="103" actId="14100"/>
          <ac:spMkLst>
            <pc:docMk/>
            <pc:sldMk cId="2098398432" sldId="1565"/>
            <ac:spMk id="22" creationId="{5AE7494A-229D-4D96-ADAC-7ACC47A830EE}"/>
          </ac:spMkLst>
        </pc:spChg>
        <pc:picChg chg="mod">
          <ac:chgData name="Batuhan Yildiz" userId="90f344fc-4655-4923-aeaf-697bba59c1a7" providerId="ADAL" clId="{DEC41FCA-8E52-4E95-897D-74AD214D55EC}" dt="2020-05-22T06:15:03.704" v="104" actId="14100"/>
          <ac:picMkLst>
            <pc:docMk/>
            <pc:sldMk cId="2098398432" sldId="1565"/>
            <ac:picMk id="9" creationId="{92D30264-10A7-4D55-A840-4D937C4D89A1}"/>
          </ac:picMkLst>
        </pc:picChg>
        <pc:picChg chg="mod">
          <ac:chgData name="Batuhan Yildiz" userId="90f344fc-4655-4923-aeaf-697bba59c1a7" providerId="ADAL" clId="{DEC41FCA-8E52-4E95-897D-74AD214D55EC}" dt="2020-05-22T06:14:42.577" v="98" actId="1076"/>
          <ac:picMkLst>
            <pc:docMk/>
            <pc:sldMk cId="2098398432" sldId="1565"/>
            <ac:picMk id="10" creationId="{A8C03863-25AF-413A-B9C7-6FD9A02A0671}"/>
          </ac:picMkLst>
        </pc:picChg>
        <pc:picChg chg="mod">
          <ac:chgData name="Batuhan Yildiz" userId="90f344fc-4655-4923-aeaf-697bba59c1a7" providerId="ADAL" clId="{DEC41FCA-8E52-4E95-897D-74AD214D55EC}" dt="2020-05-22T06:14:42.577" v="98" actId="1076"/>
          <ac:picMkLst>
            <pc:docMk/>
            <pc:sldMk cId="2098398432" sldId="1565"/>
            <ac:picMk id="11" creationId="{F2D59C35-182B-4BA8-A112-0308D45F51BB}"/>
          </ac:picMkLst>
        </pc:picChg>
        <pc:picChg chg="mod">
          <ac:chgData name="Batuhan Yildiz" userId="90f344fc-4655-4923-aeaf-697bba59c1a7" providerId="ADAL" clId="{DEC41FCA-8E52-4E95-897D-74AD214D55EC}" dt="2020-05-22T06:13:24.882" v="94" actId="1076"/>
          <ac:picMkLst>
            <pc:docMk/>
            <pc:sldMk cId="2098398432" sldId="1565"/>
            <ac:picMk id="13" creationId="{3212DEFB-FC13-462D-A4B7-E52EB5B907C6}"/>
          </ac:picMkLst>
        </pc:picChg>
      </pc:sldChg>
      <pc:sldChg chg="modSp mod">
        <pc:chgData name="Batuhan Yildiz" userId="90f344fc-4655-4923-aeaf-697bba59c1a7" providerId="ADAL" clId="{DEC41FCA-8E52-4E95-897D-74AD214D55EC}" dt="2020-05-22T06:17:09.718" v="120" actId="1038"/>
        <pc:sldMkLst>
          <pc:docMk/>
          <pc:sldMk cId="2490951893" sldId="1566"/>
        </pc:sldMkLst>
        <pc:spChg chg="mod">
          <ac:chgData name="Batuhan Yildiz" userId="90f344fc-4655-4923-aeaf-697bba59c1a7" providerId="ADAL" clId="{DEC41FCA-8E52-4E95-897D-74AD214D55EC}" dt="2020-05-22T06:17:09.718" v="120" actId="1038"/>
          <ac:spMkLst>
            <pc:docMk/>
            <pc:sldMk cId="2490951893" sldId="1566"/>
            <ac:spMk id="8" creationId="{2F94C61F-F2F2-48B7-A8BE-B77AE6692418}"/>
          </ac:spMkLst>
        </pc:spChg>
        <pc:picChg chg="mod">
          <ac:chgData name="Batuhan Yildiz" userId="90f344fc-4655-4923-aeaf-697bba59c1a7" providerId="ADAL" clId="{DEC41FCA-8E52-4E95-897D-74AD214D55EC}" dt="2020-05-22T06:17:09.718" v="120" actId="1038"/>
          <ac:picMkLst>
            <pc:docMk/>
            <pc:sldMk cId="2490951893" sldId="1566"/>
            <ac:picMk id="21" creationId="{609FE5A5-A144-460D-B1FF-811AD35D6ACC}"/>
          </ac:picMkLst>
        </pc:picChg>
        <pc:picChg chg="mod">
          <ac:chgData name="Batuhan Yildiz" userId="90f344fc-4655-4923-aeaf-697bba59c1a7" providerId="ADAL" clId="{DEC41FCA-8E52-4E95-897D-74AD214D55EC}" dt="2020-05-22T06:17:09.718" v="120" actId="1038"/>
          <ac:picMkLst>
            <pc:docMk/>
            <pc:sldMk cId="2490951893" sldId="1566"/>
            <ac:picMk id="22" creationId="{CBC2A6E3-10AE-45DE-909E-A82AB56FCC34}"/>
          </ac:picMkLst>
        </pc:picChg>
      </pc:sldChg>
      <pc:sldChg chg="modSp mod">
        <pc:chgData name="Batuhan Yildiz" userId="90f344fc-4655-4923-aeaf-697bba59c1a7" providerId="ADAL" clId="{DEC41FCA-8E52-4E95-897D-74AD214D55EC}" dt="2020-05-22T06:18:00.142" v="199" actId="947"/>
        <pc:sldMkLst>
          <pc:docMk/>
          <pc:sldMk cId="2789277589" sldId="1568"/>
        </pc:sldMkLst>
        <pc:graphicFrameChg chg="mod modGraphic">
          <ac:chgData name="Batuhan Yildiz" userId="90f344fc-4655-4923-aeaf-697bba59c1a7" providerId="ADAL" clId="{DEC41FCA-8E52-4E95-897D-74AD214D55EC}" dt="2020-05-22T06:18:00.142" v="199" actId="947"/>
          <ac:graphicFrameMkLst>
            <pc:docMk/>
            <pc:sldMk cId="2789277589" sldId="1568"/>
            <ac:graphicFrameMk id="5" creationId="{51B292C3-67DC-4879-8690-2437478F401F}"/>
          </ac:graphicFrameMkLst>
        </pc:graphicFrameChg>
      </pc:sldChg>
      <pc:sldChg chg="modSp mod">
        <pc:chgData name="Batuhan Yildiz" userId="90f344fc-4655-4923-aeaf-697bba59c1a7" providerId="ADAL" clId="{DEC41FCA-8E52-4E95-897D-74AD214D55EC}" dt="2020-05-22T06:18:32.445" v="202" actId="20577"/>
        <pc:sldMkLst>
          <pc:docMk/>
          <pc:sldMk cId="1719616079" sldId="1582"/>
        </pc:sldMkLst>
        <pc:graphicFrameChg chg="modGraphic">
          <ac:chgData name="Batuhan Yildiz" userId="90f344fc-4655-4923-aeaf-697bba59c1a7" providerId="ADAL" clId="{DEC41FCA-8E52-4E95-897D-74AD214D55EC}" dt="2020-05-22T06:18:32.445" v="202" actId="20577"/>
          <ac:graphicFrameMkLst>
            <pc:docMk/>
            <pc:sldMk cId="1719616079" sldId="1582"/>
            <ac:graphicFrameMk id="5" creationId="{9DA613A8-7843-4DC6-B449-9A9544E5201B}"/>
          </ac:graphicFrameMkLst>
        </pc:graphicFrameChg>
      </pc:sldChg>
      <pc:sldChg chg="delSp mod">
        <pc:chgData name="Batuhan Yildiz" userId="90f344fc-4655-4923-aeaf-697bba59c1a7" providerId="ADAL" clId="{DEC41FCA-8E52-4E95-897D-74AD214D55EC}" dt="2020-05-22T06:19:01.860" v="203" actId="478"/>
        <pc:sldMkLst>
          <pc:docMk/>
          <pc:sldMk cId="2497101253" sldId="1584"/>
        </pc:sldMkLst>
        <pc:spChg chg="del">
          <ac:chgData name="Batuhan Yildiz" userId="90f344fc-4655-4923-aeaf-697bba59c1a7" providerId="ADAL" clId="{DEC41FCA-8E52-4E95-897D-74AD214D55EC}" dt="2020-05-22T06:19:01.860" v="203" actId="478"/>
          <ac:spMkLst>
            <pc:docMk/>
            <pc:sldMk cId="2497101253" sldId="1584"/>
            <ac:spMk id="4" creationId="{F3616A99-090F-45E1-9334-58D58B148205}"/>
          </ac:spMkLst>
        </pc:spChg>
      </pc:sldChg>
      <pc:sldChg chg="delSp mod">
        <pc:chgData name="Batuhan Yildiz" userId="90f344fc-4655-4923-aeaf-697bba59c1a7" providerId="ADAL" clId="{DEC41FCA-8E52-4E95-897D-74AD214D55EC}" dt="2020-05-22T06:19:07.163" v="204" actId="478"/>
        <pc:sldMkLst>
          <pc:docMk/>
          <pc:sldMk cId="2725821802" sldId="1585"/>
        </pc:sldMkLst>
        <pc:spChg chg="del">
          <ac:chgData name="Batuhan Yildiz" userId="90f344fc-4655-4923-aeaf-697bba59c1a7" providerId="ADAL" clId="{DEC41FCA-8E52-4E95-897D-74AD214D55EC}" dt="2020-05-22T06:19:07.163" v="204" actId="478"/>
          <ac:spMkLst>
            <pc:docMk/>
            <pc:sldMk cId="2725821802" sldId="1585"/>
            <ac:spMk id="4" creationId="{F3616A99-090F-45E1-9334-58D58B148205}"/>
          </ac:spMkLst>
        </pc:spChg>
      </pc:sldChg>
      <pc:sldChg chg="modSp">
        <pc:chgData name="Batuhan Yildiz" userId="90f344fc-4655-4923-aeaf-697bba59c1a7" providerId="ADAL" clId="{DEC41FCA-8E52-4E95-897D-74AD214D55EC}" dt="2020-05-22T06:19:45.841" v="211" actId="12100"/>
        <pc:sldMkLst>
          <pc:docMk/>
          <pc:sldMk cId="3010385615" sldId="1586"/>
        </pc:sldMkLst>
        <pc:graphicFrameChg chg="mod">
          <ac:chgData name="Batuhan Yildiz" userId="90f344fc-4655-4923-aeaf-697bba59c1a7" providerId="ADAL" clId="{DEC41FCA-8E52-4E95-897D-74AD214D55EC}" dt="2020-05-22T06:19:45.841" v="211" actId="12100"/>
          <ac:graphicFrameMkLst>
            <pc:docMk/>
            <pc:sldMk cId="3010385615" sldId="1586"/>
            <ac:graphicFrameMk id="8" creationId="{08340480-94A5-4AF3-8210-C465F68C89B1}"/>
          </ac:graphicFrameMkLst>
        </pc:graphicFrameChg>
      </pc:sldChg>
      <pc:sldChg chg="modSp mod">
        <pc:chgData name="Batuhan Yildiz" userId="90f344fc-4655-4923-aeaf-697bba59c1a7" providerId="ADAL" clId="{DEC41FCA-8E52-4E95-897D-74AD214D55EC}" dt="2020-05-22T06:24:24.733" v="255" actId="12385"/>
        <pc:sldMkLst>
          <pc:docMk/>
          <pc:sldMk cId="841123601" sldId="1587"/>
        </pc:sldMkLst>
        <pc:graphicFrameChg chg="modGraphic">
          <ac:chgData name="Batuhan Yildiz" userId="90f344fc-4655-4923-aeaf-697bba59c1a7" providerId="ADAL" clId="{DEC41FCA-8E52-4E95-897D-74AD214D55EC}" dt="2020-05-22T06:24:24.733" v="255" actId="12385"/>
          <ac:graphicFrameMkLst>
            <pc:docMk/>
            <pc:sldMk cId="841123601" sldId="1587"/>
            <ac:graphicFrameMk id="5" creationId="{B7DC8F22-663D-41D0-9D59-F05E7FE69CC2}"/>
          </ac:graphicFrameMkLst>
        </pc:graphicFrameChg>
      </pc:sldChg>
      <pc:sldChg chg="modSp mod chgLayout">
        <pc:chgData name="Batuhan Yildiz" userId="90f344fc-4655-4923-aeaf-697bba59c1a7" providerId="ADAL" clId="{DEC41FCA-8E52-4E95-897D-74AD214D55EC}" dt="2020-05-22T06:24:34.176" v="256" actId="700"/>
        <pc:sldMkLst>
          <pc:docMk/>
          <pc:sldMk cId="448961913" sldId="1589"/>
        </pc:sldMkLst>
        <pc:spChg chg="mod ord">
          <ac:chgData name="Batuhan Yildiz" userId="90f344fc-4655-4923-aeaf-697bba59c1a7" providerId="ADAL" clId="{DEC41FCA-8E52-4E95-897D-74AD214D55EC}" dt="2020-05-22T06:24:34.176" v="256" actId="700"/>
          <ac:spMkLst>
            <pc:docMk/>
            <pc:sldMk cId="448961913" sldId="1589"/>
            <ac:spMk id="2" creationId="{EB67312A-9819-43C6-8D84-D9136E6CFFCC}"/>
          </ac:spMkLst>
        </pc:spChg>
        <pc:spChg chg="mod ord">
          <ac:chgData name="Batuhan Yildiz" userId="90f344fc-4655-4923-aeaf-697bba59c1a7" providerId="ADAL" clId="{DEC41FCA-8E52-4E95-897D-74AD214D55EC}" dt="2020-05-22T06:24:34.176" v="256" actId="700"/>
          <ac:spMkLst>
            <pc:docMk/>
            <pc:sldMk cId="448961913" sldId="1589"/>
            <ac:spMk id="3" creationId="{F35E8CBB-5A7D-4DEF-BAF7-8DD5D042F9E0}"/>
          </ac:spMkLst>
        </pc:spChg>
        <pc:graphicFrameChg chg="mod ord">
          <ac:chgData name="Batuhan Yildiz" userId="90f344fc-4655-4923-aeaf-697bba59c1a7" providerId="ADAL" clId="{DEC41FCA-8E52-4E95-897D-74AD214D55EC}" dt="2020-05-22T06:24:34.176" v="256" actId="700"/>
          <ac:graphicFrameMkLst>
            <pc:docMk/>
            <pc:sldMk cId="448961913" sldId="1589"/>
            <ac:graphicFrameMk id="5" creationId="{549EE5B4-1514-45D3-921C-868259150793}"/>
          </ac:graphicFrameMkLst>
        </pc:graphicFrameChg>
      </pc:sldChg>
      <pc:sldChg chg="modSp mod chgLayout">
        <pc:chgData name="Batuhan Yildiz" userId="90f344fc-4655-4923-aeaf-697bba59c1a7" providerId="ADAL" clId="{DEC41FCA-8E52-4E95-897D-74AD214D55EC}" dt="2020-05-22T06:26:17.298" v="274" actId="14100"/>
        <pc:sldMkLst>
          <pc:docMk/>
          <pc:sldMk cId="2258958738" sldId="1595"/>
        </pc:sldMkLst>
        <pc:spChg chg="mod ord">
          <ac:chgData name="Batuhan Yildiz" userId="90f344fc-4655-4923-aeaf-697bba59c1a7" providerId="ADAL" clId="{DEC41FCA-8E52-4E95-897D-74AD214D55EC}" dt="2020-05-22T06:26:04.024" v="270" actId="700"/>
          <ac:spMkLst>
            <pc:docMk/>
            <pc:sldMk cId="2258958738" sldId="1595"/>
            <ac:spMk id="2" creationId="{EB67312A-9819-43C6-8D84-D9136E6CFFCC}"/>
          </ac:spMkLst>
        </pc:spChg>
        <pc:spChg chg="mod ord">
          <ac:chgData name="Batuhan Yildiz" userId="90f344fc-4655-4923-aeaf-697bba59c1a7" providerId="ADAL" clId="{DEC41FCA-8E52-4E95-897D-74AD214D55EC}" dt="2020-05-22T06:26:04.024" v="270" actId="700"/>
          <ac:spMkLst>
            <pc:docMk/>
            <pc:sldMk cId="2258958738" sldId="1595"/>
            <ac:spMk id="3" creationId="{F35E8CBB-5A7D-4DEF-BAF7-8DD5D042F9E0}"/>
          </ac:spMkLst>
        </pc:spChg>
        <pc:graphicFrameChg chg="mod ord">
          <ac:chgData name="Batuhan Yildiz" userId="90f344fc-4655-4923-aeaf-697bba59c1a7" providerId="ADAL" clId="{DEC41FCA-8E52-4E95-897D-74AD214D55EC}" dt="2020-05-22T06:26:17.298" v="274" actId="14100"/>
          <ac:graphicFrameMkLst>
            <pc:docMk/>
            <pc:sldMk cId="2258958738" sldId="1595"/>
            <ac:graphicFrameMk id="5" creationId="{394F3E58-5465-452F-B8FC-E2E1075F7D8D}"/>
          </ac:graphicFrameMkLst>
        </pc:graphicFrameChg>
      </pc:sldChg>
      <pc:sldChg chg="modSp">
        <pc:chgData name="Batuhan Yildiz" userId="90f344fc-4655-4923-aeaf-697bba59c1a7" providerId="ADAL" clId="{DEC41FCA-8E52-4E95-897D-74AD214D55EC}" dt="2020-05-22T06:26:34.935" v="278" actId="14100"/>
        <pc:sldMkLst>
          <pc:docMk/>
          <pc:sldMk cId="4217455425" sldId="1597"/>
        </pc:sldMkLst>
        <pc:graphicFrameChg chg="mod">
          <ac:chgData name="Batuhan Yildiz" userId="90f344fc-4655-4923-aeaf-697bba59c1a7" providerId="ADAL" clId="{DEC41FCA-8E52-4E95-897D-74AD214D55EC}" dt="2020-05-22T06:26:34.935" v="278" actId="14100"/>
          <ac:graphicFrameMkLst>
            <pc:docMk/>
            <pc:sldMk cId="4217455425" sldId="1597"/>
            <ac:graphicFrameMk id="5" creationId="{8BBE1247-23A6-4CED-B467-BAD792BD638A}"/>
          </ac:graphicFrameMkLst>
        </pc:graphicFrameChg>
      </pc:sldChg>
      <pc:sldChg chg="modSp">
        <pc:chgData name="Batuhan Yildiz" userId="90f344fc-4655-4923-aeaf-697bba59c1a7" providerId="ADAL" clId="{DEC41FCA-8E52-4E95-897D-74AD214D55EC}" dt="2020-05-22T06:27:16.512" v="280" actId="12100"/>
        <pc:sldMkLst>
          <pc:docMk/>
          <pc:sldMk cId="2596501681" sldId="1599"/>
        </pc:sldMkLst>
        <pc:graphicFrameChg chg="mod">
          <ac:chgData name="Batuhan Yildiz" userId="90f344fc-4655-4923-aeaf-697bba59c1a7" providerId="ADAL" clId="{DEC41FCA-8E52-4E95-897D-74AD214D55EC}" dt="2020-05-22T06:27:16.512" v="280" actId="12100"/>
          <ac:graphicFrameMkLst>
            <pc:docMk/>
            <pc:sldMk cId="2596501681" sldId="1599"/>
            <ac:graphicFrameMk id="5" creationId="{48AD84B7-A856-46D6-96CD-AD108661DEDF}"/>
          </ac:graphicFrameMkLst>
        </pc:graphicFrameChg>
      </pc:sldChg>
      <pc:sldChg chg="addSp delSp modSp mod modClrScheme chgLayout">
        <pc:chgData name="Batuhan Yildiz" userId="90f344fc-4655-4923-aeaf-697bba59c1a7" providerId="ADAL" clId="{DEC41FCA-8E52-4E95-897D-74AD214D55EC}" dt="2020-05-22T03:11:32.052" v="11" actId="14100"/>
        <pc:sldMkLst>
          <pc:docMk/>
          <pc:sldMk cId="2741521458" sldId="1602"/>
        </pc:sldMkLst>
        <pc:spChg chg="mod ord">
          <ac:chgData name="Batuhan Yildiz" userId="90f344fc-4655-4923-aeaf-697bba59c1a7" providerId="ADAL" clId="{DEC41FCA-8E52-4E95-897D-74AD214D55EC}" dt="2020-05-22T03:09:49.684" v="0" actId="700"/>
          <ac:spMkLst>
            <pc:docMk/>
            <pc:sldMk cId="2741521458" sldId="1602"/>
            <ac:spMk id="2" creationId="{EB67312A-9819-43C6-8D84-D9136E6CFFCC}"/>
          </ac:spMkLst>
        </pc:spChg>
        <pc:spChg chg="del mod ord">
          <ac:chgData name="Batuhan Yildiz" userId="90f344fc-4655-4923-aeaf-697bba59c1a7" providerId="ADAL" clId="{DEC41FCA-8E52-4E95-897D-74AD214D55EC}" dt="2020-05-22T03:11:04.096" v="7" actId="12084"/>
          <ac:spMkLst>
            <pc:docMk/>
            <pc:sldMk cId="2741521458" sldId="1602"/>
            <ac:spMk id="4" creationId="{F3616A99-090F-45E1-9334-58D58B148205}"/>
          </ac:spMkLst>
        </pc:spChg>
        <pc:graphicFrameChg chg="add mod">
          <ac:chgData name="Batuhan Yildiz" userId="90f344fc-4655-4923-aeaf-697bba59c1a7" providerId="ADAL" clId="{DEC41FCA-8E52-4E95-897D-74AD214D55EC}" dt="2020-05-22T03:11:24.148" v="10" actId="14100"/>
          <ac:graphicFrameMkLst>
            <pc:docMk/>
            <pc:sldMk cId="2741521458" sldId="1602"/>
            <ac:graphicFrameMk id="3" creationId="{2424CBED-40D5-4768-8ADE-FB07AF72083A}"/>
          </ac:graphicFrameMkLst>
        </pc:graphicFrameChg>
        <pc:graphicFrameChg chg="mod">
          <ac:chgData name="Batuhan Yildiz" userId="90f344fc-4655-4923-aeaf-697bba59c1a7" providerId="ADAL" clId="{DEC41FCA-8E52-4E95-897D-74AD214D55EC}" dt="2020-05-22T03:11:32.052" v="11" actId="14100"/>
          <ac:graphicFrameMkLst>
            <pc:docMk/>
            <pc:sldMk cId="2741521458" sldId="1602"/>
            <ac:graphicFrameMk id="6" creationId="{342AB7DA-5201-49EF-8134-02B7790879C2}"/>
          </ac:graphicFrameMkLst>
        </pc:graphicFrameChg>
      </pc:sldChg>
      <pc:sldChg chg="addSp delSp modSp mod chgLayout">
        <pc:chgData name="Batuhan Yildiz" userId="90f344fc-4655-4923-aeaf-697bba59c1a7" providerId="ADAL" clId="{DEC41FCA-8E52-4E95-897D-74AD214D55EC}" dt="2020-05-22T06:29:05.352" v="293" actId="255"/>
        <pc:sldMkLst>
          <pc:docMk/>
          <pc:sldMk cId="3027599026" sldId="1605"/>
        </pc:sldMkLst>
        <pc:spChg chg="mod ord">
          <ac:chgData name="Batuhan Yildiz" userId="90f344fc-4655-4923-aeaf-697bba59c1a7" providerId="ADAL" clId="{DEC41FCA-8E52-4E95-897D-74AD214D55EC}" dt="2020-05-22T06:28:36.650" v="291" actId="6549"/>
          <ac:spMkLst>
            <pc:docMk/>
            <pc:sldMk cId="3027599026" sldId="1605"/>
            <ac:spMk id="2" creationId="{EB67312A-9819-43C6-8D84-D9136E6CFFCC}"/>
          </ac:spMkLst>
        </pc:spChg>
        <pc:spChg chg="del mod ord">
          <ac:chgData name="Batuhan Yildiz" userId="90f344fc-4655-4923-aeaf-697bba59c1a7" providerId="ADAL" clId="{DEC41FCA-8E52-4E95-897D-74AD214D55EC}" dt="2020-05-22T06:28:23.713" v="287" actId="478"/>
          <ac:spMkLst>
            <pc:docMk/>
            <pc:sldMk cId="3027599026" sldId="1605"/>
            <ac:spMk id="3" creationId="{F35E8CBB-5A7D-4DEF-BAF7-8DD5D042F9E0}"/>
          </ac:spMkLst>
        </pc:spChg>
        <pc:spChg chg="add del mod">
          <ac:chgData name="Batuhan Yildiz" userId="90f344fc-4655-4923-aeaf-697bba59c1a7" providerId="ADAL" clId="{DEC41FCA-8E52-4E95-897D-74AD214D55EC}" dt="2020-05-22T06:28:26.460" v="288" actId="478"/>
          <ac:spMkLst>
            <pc:docMk/>
            <pc:sldMk cId="3027599026" sldId="1605"/>
            <ac:spMk id="6" creationId="{C3195925-ECB4-4C2F-982B-E67BDBCA6DCC}"/>
          </ac:spMkLst>
        </pc:spChg>
        <pc:spChg chg="add mod ord">
          <ac:chgData name="Batuhan Yildiz" userId="90f344fc-4655-4923-aeaf-697bba59c1a7" providerId="ADAL" clId="{DEC41FCA-8E52-4E95-897D-74AD214D55EC}" dt="2020-05-22T06:28:34.069" v="290"/>
          <ac:spMkLst>
            <pc:docMk/>
            <pc:sldMk cId="3027599026" sldId="1605"/>
            <ac:spMk id="7" creationId="{F7F423F5-E043-4106-BD6F-6E890018C782}"/>
          </ac:spMkLst>
        </pc:spChg>
        <pc:graphicFrameChg chg="mod ord">
          <ac:chgData name="Batuhan Yildiz" userId="90f344fc-4655-4923-aeaf-697bba59c1a7" providerId="ADAL" clId="{DEC41FCA-8E52-4E95-897D-74AD214D55EC}" dt="2020-05-22T06:29:05.352" v="293" actId="255"/>
          <ac:graphicFrameMkLst>
            <pc:docMk/>
            <pc:sldMk cId="3027599026" sldId="1605"/>
            <ac:graphicFrameMk id="8" creationId="{1267059D-2394-456A-8A5B-99E75FF8D9D4}"/>
          </ac:graphicFrameMkLst>
        </pc:graphicFrameChg>
      </pc:sldChg>
      <pc:sldChg chg="modSp">
        <pc:chgData name="Batuhan Yildiz" userId="90f344fc-4655-4923-aeaf-697bba59c1a7" providerId="ADAL" clId="{DEC41FCA-8E52-4E95-897D-74AD214D55EC}" dt="2020-05-22T06:29:53.248" v="295" actId="13782"/>
        <pc:sldMkLst>
          <pc:docMk/>
          <pc:sldMk cId="2247178049" sldId="1606"/>
        </pc:sldMkLst>
        <pc:graphicFrameChg chg="mod">
          <ac:chgData name="Batuhan Yildiz" userId="90f344fc-4655-4923-aeaf-697bba59c1a7" providerId="ADAL" clId="{DEC41FCA-8E52-4E95-897D-74AD214D55EC}" dt="2020-05-22T06:29:53.248" v="295" actId="13782"/>
          <ac:graphicFrameMkLst>
            <pc:docMk/>
            <pc:sldMk cId="2247178049" sldId="1606"/>
            <ac:graphicFrameMk id="5" creationId="{44F4358F-E58F-4AAD-8FAD-7052DE5FD247}"/>
          </ac:graphicFrameMkLst>
        </pc:graphicFrameChg>
      </pc:sldChg>
      <pc:sldChg chg="modSp">
        <pc:chgData name="Batuhan Yildiz" userId="90f344fc-4655-4923-aeaf-697bba59c1a7" providerId="ADAL" clId="{DEC41FCA-8E52-4E95-897D-74AD214D55EC}" dt="2020-05-22T03:14:15.950" v="25" actId="14100"/>
        <pc:sldMkLst>
          <pc:docMk/>
          <pc:sldMk cId="40536582" sldId="1609"/>
        </pc:sldMkLst>
        <pc:graphicFrameChg chg="mod">
          <ac:chgData name="Batuhan Yildiz" userId="90f344fc-4655-4923-aeaf-697bba59c1a7" providerId="ADAL" clId="{DEC41FCA-8E52-4E95-897D-74AD214D55EC}" dt="2020-05-22T03:14:15.950" v="25" actId="14100"/>
          <ac:graphicFrameMkLst>
            <pc:docMk/>
            <pc:sldMk cId="40536582" sldId="1609"/>
            <ac:graphicFrameMk id="6" creationId="{F7F91E82-7A30-446A-9AA4-56B6B8FA1E48}"/>
          </ac:graphicFrameMkLst>
        </pc:graphicFrameChg>
      </pc:sldChg>
      <pc:sldChg chg="modSp">
        <pc:chgData name="Batuhan Yildiz" userId="90f344fc-4655-4923-aeaf-697bba59c1a7" providerId="ADAL" clId="{DEC41FCA-8E52-4E95-897D-74AD214D55EC}" dt="2020-05-22T06:29:26.337" v="294" actId="12100"/>
        <pc:sldMkLst>
          <pc:docMk/>
          <pc:sldMk cId="3677067881" sldId="1610"/>
        </pc:sldMkLst>
        <pc:graphicFrameChg chg="mod">
          <ac:chgData name="Batuhan Yildiz" userId="90f344fc-4655-4923-aeaf-697bba59c1a7" providerId="ADAL" clId="{DEC41FCA-8E52-4E95-897D-74AD214D55EC}" dt="2020-05-22T06:29:26.337" v="294" actId="12100"/>
          <ac:graphicFrameMkLst>
            <pc:docMk/>
            <pc:sldMk cId="3677067881" sldId="1610"/>
            <ac:graphicFrameMk id="6" creationId="{7CA6B8BE-95D4-4114-B614-11B0406EF2D4}"/>
          </ac:graphicFrameMkLst>
        </pc:graphicFrameChg>
      </pc:sldChg>
      <pc:sldChg chg="addSp modSp add mod modNotesTx">
        <pc:chgData name="Batuhan Yildiz" userId="90f344fc-4655-4923-aeaf-697bba59c1a7" providerId="ADAL" clId="{DEC41FCA-8E52-4E95-897D-74AD214D55EC}" dt="2020-05-22T03:18:31.293" v="47" actId="20577"/>
        <pc:sldMkLst>
          <pc:docMk/>
          <pc:sldMk cId="1359250266" sldId="1612"/>
        </pc:sldMkLst>
        <pc:spChg chg="add mod">
          <ac:chgData name="Batuhan Yildiz" userId="90f344fc-4655-4923-aeaf-697bba59c1a7" providerId="ADAL" clId="{DEC41FCA-8E52-4E95-897D-74AD214D55EC}" dt="2020-05-22T03:18:14.742" v="45" actId="14100"/>
          <ac:spMkLst>
            <pc:docMk/>
            <pc:sldMk cId="1359250266" sldId="1612"/>
            <ac:spMk id="5" creationId="{8E6B403F-E82E-4E77-B7BD-8E3EEEB9CC70}"/>
          </ac:spMkLst>
        </pc:spChg>
        <pc:graphicFrameChg chg="mod">
          <ac:chgData name="Batuhan Yildiz" userId="90f344fc-4655-4923-aeaf-697bba59c1a7" providerId="ADAL" clId="{DEC41FCA-8E52-4E95-897D-74AD214D55EC}" dt="2020-05-22T03:18:31.293" v="47" actId="20577"/>
          <ac:graphicFrameMkLst>
            <pc:docMk/>
            <pc:sldMk cId="1359250266" sldId="1612"/>
            <ac:graphicFrameMk id="3" creationId="{9484E1FE-7534-495E-863C-657A46F5E628}"/>
          </ac:graphicFrameMkLst>
        </pc:graphicFrameChg>
      </pc:sldChg>
      <pc:sldChg chg="addSp modSp new del mod modNotesTx">
        <pc:chgData name="Batuhan Yildiz" userId="90f344fc-4655-4923-aeaf-697bba59c1a7" providerId="ADAL" clId="{DEC41FCA-8E52-4E95-897D-74AD214D55EC}" dt="2020-05-22T03:21:43.721" v="68" actId="2696"/>
        <pc:sldMkLst>
          <pc:docMk/>
          <pc:sldMk cId="2746437784" sldId="1613"/>
        </pc:sldMkLst>
        <pc:spChg chg="mod">
          <ac:chgData name="Batuhan Yildiz" userId="90f344fc-4655-4923-aeaf-697bba59c1a7" providerId="ADAL" clId="{DEC41FCA-8E52-4E95-897D-74AD214D55EC}" dt="2020-05-22T03:19:56.115" v="49"/>
          <ac:spMkLst>
            <pc:docMk/>
            <pc:sldMk cId="2746437784" sldId="1613"/>
            <ac:spMk id="2" creationId="{45A3B63C-511A-4A22-B722-9028EEF38AFA}"/>
          </ac:spMkLst>
        </pc:spChg>
        <pc:spChg chg="mod">
          <ac:chgData name="Batuhan Yildiz" userId="90f344fc-4655-4923-aeaf-697bba59c1a7" providerId="ADAL" clId="{DEC41FCA-8E52-4E95-897D-74AD214D55EC}" dt="2020-05-22T03:20:03.086" v="50"/>
          <ac:spMkLst>
            <pc:docMk/>
            <pc:sldMk cId="2746437784" sldId="1613"/>
            <ac:spMk id="3" creationId="{A33C330C-9E9C-490C-ACDC-2F64DE701CF3}"/>
          </ac:spMkLst>
        </pc:spChg>
        <pc:spChg chg="add mod">
          <ac:chgData name="Batuhan Yildiz" userId="90f344fc-4655-4923-aeaf-697bba59c1a7" providerId="ADAL" clId="{DEC41FCA-8E52-4E95-897D-74AD214D55EC}" dt="2020-05-22T03:21:42.596" v="66" actId="12"/>
          <ac:spMkLst>
            <pc:docMk/>
            <pc:sldMk cId="2746437784" sldId="1613"/>
            <ac:spMk id="4" creationId="{E6CF28E4-79C0-4BC8-9787-CDC58B23DCD2}"/>
          </ac:spMkLst>
        </pc:spChg>
      </pc:sldChg>
      <pc:sldChg chg="modSp add del mod">
        <pc:chgData name="Batuhan Yildiz" userId="90f344fc-4655-4923-aeaf-697bba59c1a7" providerId="ADAL" clId="{DEC41FCA-8E52-4E95-897D-74AD214D55EC}" dt="2020-05-22T03:22:10.778" v="75" actId="2696"/>
        <pc:sldMkLst>
          <pc:docMk/>
          <pc:sldMk cId="1134569372" sldId="1614"/>
        </pc:sldMkLst>
        <pc:spChg chg="mod">
          <ac:chgData name="Batuhan Yildiz" userId="90f344fc-4655-4923-aeaf-697bba59c1a7" providerId="ADAL" clId="{DEC41FCA-8E52-4E95-897D-74AD214D55EC}" dt="2020-05-22T03:22:09.797" v="73" actId="12"/>
          <ac:spMkLst>
            <pc:docMk/>
            <pc:sldMk cId="1134569372" sldId="1614"/>
            <ac:spMk id="4" creationId="{E6CF28E4-79C0-4BC8-9787-CDC58B23DCD2}"/>
          </ac:spMkLst>
        </pc:spChg>
      </pc:sldChg>
      <pc:sldChg chg="modSp add del mod">
        <pc:chgData name="Batuhan Yildiz" userId="90f344fc-4655-4923-aeaf-697bba59c1a7" providerId="ADAL" clId="{DEC41FCA-8E52-4E95-897D-74AD214D55EC}" dt="2020-05-22T03:22:21.973" v="81" actId="2696"/>
        <pc:sldMkLst>
          <pc:docMk/>
          <pc:sldMk cId="4045624749" sldId="1615"/>
        </pc:sldMkLst>
        <pc:spChg chg="mod">
          <ac:chgData name="Batuhan Yildiz" userId="90f344fc-4655-4923-aeaf-697bba59c1a7" providerId="ADAL" clId="{DEC41FCA-8E52-4E95-897D-74AD214D55EC}" dt="2020-05-22T03:22:21.061" v="79" actId="12"/>
          <ac:spMkLst>
            <pc:docMk/>
            <pc:sldMk cId="4045624749" sldId="1615"/>
            <ac:spMk id="4" creationId="{E6CF28E4-79C0-4BC8-9787-CDC58B23DCD2}"/>
          </ac:spMkLst>
        </pc:spChg>
      </pc:sldChg>
      <pc:sldChg chg="addSp delSp modSp add mod">
        <pc:chgData name="Batuhan Yildiz" userId="90f344fc-4655-4923-aeaf-697bba59c1a7" providerId="ADAL" clId="{DEC41FCA-8E52-4E95-897D-74AD214D55EC}" dt="2020-05-22T03:23:18.156" v="91" actId="14100"/>
        <pc:sldMkLst>
          <pc:docMk/>
          <pc:sldMk cId="4074467815" sldId="1616"/>
        </pc:sldMkLst>
        <pc:spChg chg="del mod">
          <ac:chgData name="Batuhan Yildiz" userId="90f344fc-4655-4923-aeaf-697bba59c1a7" providerId="ADAL" clId="{DEC41FCA-8E52-4E95-897D-74AD214D55EC}" dt="2020-05-22T03:22:55.425" v="87" actId="12084"/>
          <ac:spMkLst>
            <pc:docMk/>
            <pc:sldMk cId="4074467815" sldId="1616"/>
            <ac:spMk id="4" creationId="{E6CF28E4-79C0-4BC8-9787-CDC58B23DCD2}"/>
          </ac:spMkLst>
        </pc:spChg>
        <pc:graphicFrameChg chg="add mod">
          <ac:chgData name="Batuhan Yildiz" userId="90f344fc-4655-4923-aeaf-697bba59c1a7" providerId="ADAL" clId="{DEC41FCA-8E52-4E95-897D-74AD214D55EC}" dt="2020-05-22T03:23:18.156" v="91" actId="14100"/>
          <ac:graphicFrameMkLst>
            <pc:docMk/>
            <pc:sldMk cId="4074467815" sldId="1616"/>
            <ac:graphicFrameMk id="5" creationId="{97EAB50E-C8AA-497A-99F1-D35A36453435}"/>
          </ac:graphicFrameMkLst>
        </pc:graphicFrameChg>
      </pc:sldChg>
      <pc:sldChg chg="modSp add modNotesTx">
        <pc:chgData name="Batuhan Yildiz" userId="90f344fc-4655-4923-aeaf-697bba59c1a7" providerId="ADAL" clId="{DEC41FCA-8E52-4E95-897D-74AD214D55EC}" dt="2020-05-22T06:24:05.955" v="253"/>
        <pc:sldMkLst>
          <pc:docMk/>
          <pc:sldMk cId="1758082861" sldId="1617"/>
        </pc:sldMkLst>
        <pc:graphicFrameChg chg="mod">
          <ac:chgData name="Batuhan Yildiz" userId="90f344fc-4655-4923-aeaf-697bba59c1a7" providerId="ADAL" clId="{DEC41FCA-8E52-4E95-897D-74AD214D55EC}" dt="2020-05-22T06:23:58.387" v="252"/>
          <ac:graphicFrameMkLst>
            <pc:docMk/>
            <pc:sldMk cId="1758082861" sldId="1617"/>
            <ac:graphicFrameMk id="3" creationId="{9484E1FE-7534-495E-863C-657A46F5E628}"/>
          </ac:graphicFrameMkLst>
        </pc:graphicFrameChg>
      </pc:sldChg>
      <pc:sldChg chg="modSp add modNotesTx">
        <pc:chgData name="Batuhan Yildiz" userId="90f344fc-4655-4923-aeaf-697bba59c1a7" providerId="ADAL" clId="{DEC41FCA-8E52-4E95-897D-74AD214D55EC}" dt="2020-05-22T06:25:22.366" v="264" actId="20577"/>
        <pc:sldMkLst>
          <pc:docMk/>
          <pc:sldMk cId="824631138" sldId="1618"/>
        </pc:sldMkLst>
        <pc:graphicFrameChg chg="mod">
          <ac:chgData name="Batuhan Yildiz" userId="90f344fc-4655-4923-aeaf-697bba59c1a7" providerId="ADAL" clId="{DEC41FCA-8E52-4E95-897D-74AD214D55EC}" dt="2020-05-22T06:25:13.895" v="261"/>
          <ac:graphicFrameMkLst>
            <pc:docMk/>
            <pc:sldMk cId="824631138" sldId="1618"/>
            <ac:graphicFrameMk id="3" creationId="{9484E1FE-7534-495E-863C-657A46F5E628}"/>
          </ac:graphicFrameMkLst>
        </pc:graphicFrameChg>
      </pc:sldChg>
    </pc:docChg>
  </pc:docChgLst>
  <pc:docChgLst>
    <pc:chgData name="Varinder Singh" userId="e78eab9f-fa20-4bd5-9745-875ae6e7a1cb" providerId="ADAL" clId="{4C1A7549-8337-48E2-96BC-0A27100205B1}"/>
    <pc:docChg chg="undo custSel modSld">
      <pc:chgData name="Varinder Singh" userId="e78eab9f-fa20-4bd5-9745-875ae6e7a1cb" providerId="ADAL" clId="{4C1A7549-8337-48E2-96BC-0A27100205B1}" dt="2020-03-05T00:13:10.197" v="1289" actId="6549"/>
      <pc:docMkLst>
        <pc:docMk/>
      </pc:docMkLst>
      <pc:sldChg chg="modNotesTx">
        <pc:chgData name="Varinder Singh" userId="e78eab9f-fa20-4bd5-9745-875ae6e7a1cb" providerId="ADAL" clId="{4C1A7549-8337-48E2-96BC-0A27100205B1}" dt="2020-02-19T19:05:35.809" v="4" actId="12"/>
        <pc:sldMkLst>
          <pc:docMk/>
          <pc:sldMk cId="4267675391" sldId="531"/>
        </pc:sldMkLst>
      </pc:sldChg>
      <pc:sldChg chg="modSp mod">
        <pc:chgData name="Varinder Singh" userId="e78eab9f-fa20-4bd5-9745-875ae6e7a1cb" providerId="ADAL" clId="{4C1A7549-8337-48E2-96BC-0A27100205B1}" dt="2020-03-04T23:01:43.435" v="181" actId="6549"/>
        <pc:sldMkLst>
          <pc:docMk/>
          <pc:sldMk cId="3735096506" sldId="563"/>
        </pc:sldMkLst>
        <pc:spChg chg="mod">
          <ac:chgData name="Varinder Singh" userId="e78eab9f-fa20-4bd5-9745-875ae6e7a1cb" providerId="ADAL" clId="{4C1A7549-8337-48E2-96BC-0A27100205B1}" dt="2020-03-04T23:01:43.435" v="181" actId="6549"/>
          <ac:spMkLst>
            <pc:docMk/>
            <pc:sldMk cId="3735096506" sldId="563"/>
            <ac:spMk id="7" creationId="{F3D286FE-F796-495C-B9B1-FA4FD5CCC86D}"/>
          </ac:spMkLst>
        </pc:spChg>
      </pc:sldChg>
      <pc:sldChg chg="modNotesTx">
        <pc:chgData name="Varinder Singh" userId="e78eab9f-fa20-4bd5-9745-875ae6e7a1cb" providerId="ADAL" clId="{4C1A7549-8337-48E2-96BC-0A27100205B1}" dt="2020-03-05T00:03:10.269" v="804" actId="20577"/>
        <pc:sldMkLst>
          <pc:docMk/>
          <pc:sldMk cId="4221783869" sldId="566"/>
        </pc:sldMkLst>
      </pc:sldChg>
      <pc:sldChg chg="modNotesTx">
        <pc:chgData name="Varinder Singh" userId="e78eab9f-fa20-4bd5-9745-875ae6e7a1cb" providerId="ADAL" clId="{4C1A7549-8337-48E2-96BC-0A27100205B1}" dt="2020-02-19T19:01:59.447" v="1" actId="6549"/>
        <pc:sldMkLst>
          <pc:docMk/>
          <pc:sldMk cId="670385602" sldId="567"/>
        </pc:sldMkLst>
      </pc:sldChg>
      <pc:sldChg chg="modNotesTx">
        <pc:chgData name="Varinder Singh" userId="e78eab9f-fa20-4bd5-9745-875ae6e7a1cb" providerId="ADAL" clId="{4C1A7549-8337-48E2-96BC-0A27100205B1}" dt="2020-02-19T19:14:37.918" v="61" actId="5793"/>
        <pc:sldMkLst>
          <pc:docMk/>
          <pc:sldMk cId="2147177822" sldId="568"/>
        </pc:sldMkLst>
      </pc:sldChg>
      <pc:sldChg chg="modNotesTx">
        <pc:chgData name="Varinder Singh" userId="e78eab9f-fa20-4bd5-9745-875ae6e7a1cb" providerId="ADAL" clId="{4C1A7549-8337-48E2-96BC-0A27100205B1}" dt="2020-02-19T19:06:06.833" v="6" actId="6549"/>
        <pc:sldMkLst>
          <pc:docMk/>
          <pc:sldMk cId="1487953619" sldId="574"/>
        </pc:sldMkLst>
      </pc:sldChg>
      <pc:sldChg chg="modSp">
        <pc:chgData name="Varinder Singh" userId="e78eab9f-fa20-4bd5-9745-875ae6e7a1cb" providerId="ADAL" clId="{4C1A7549-8337-48E2-96BC-0A27100205B1}" dt="2020-03-05T00:11:30.610" v="1281" actId="20577"/>
        <pc:sldMkLst>
          <pc:docMk/>
          <pc:sldMk cId="4206133277" sldId="577"/>
        </pc:sldMkLst>
        <pc:graphicFrameChg chg="mod">
          <ac:chgData name="Varinder Singh" userId="e78eab9f-fa20-4bd5-9745-875ae6e7a1cb" providerId="ADAL" clId="{4C1A7549-8337-48E2-96BC-0A27100205B1}" dt="2020-03-05T00:11:30.610" v="1281" actId="20577"/>
          <ac:graphicFrameMkLst>
            <pc:docMk/>
            <pc:sldMk cId="4206133277" sldId="577"/>
            <ac:graphicFrameMk id="3" creationId="{9484E1FE-7534-495E-863C-657A46F5E628}"/>
          </ac:graphicFrameMkLst>
        </pc:graphicFrameChg>
      </pc:sldChg>
      <pc:sldChg chg="modNotesTx">
        <pc:chgData name="Varinder Singh" userId="e78eab9f-fa20-4bd5-9745-875ae6e7a1cb" providerId="ADAL" clId="{4C1A7549-8337-48E2-96BC-0A27100205B1}" dt="2020-02-19T19:05:23.199" v="3" actId="20577"/>
        <pc:sldMkLst>
          <pc:docMk/>
          <pc:sldMk cId="2678916652" sldId="1553"/>
        </pc:sldMkLst>
      </pc:sldChg>
      <pc:sldChg chg="modNotesTx">
        <pc:chgData name="Varinder Singh" userId="e78eab9f-fa20-4bd5-9745-875ae6e7a1cb" providerId="ADAL" clId="{4C1A7549-8337-48E2-96BC-0A27100205B1}" dt="2020-03-04T22:52:41.301" v="102" actId="20577"/>
        <pc:sldMkLst>
          <pc:docMk/>
          <pc:sldMk cId="3965515432" sldId="1554"/>
        </pc:sldMkLst>
      </pc:sldChg>
      <pc:sldChg chg="addSp delSp modSp mod addAnim delAnim modAnim modNotesTx">
        <pc:chgData name="Varinder Singh" userId="e78eab9f-fa20-4bd5-9745-875ae6e7a1cb" providerId="ADAL" clId="{4C1A7549-8337-48E2-96BC-0A27100205B1}" dt="2020-03-04T23:54:02.206" v="755"/>
        <pc:sldMkLst>
          <pc:docMk/>
          <pc:sldMk cId="2098398432" sldId="1565"/>
        </pc:sldMkLst>
        <pc:spChg chg="add mod">
          <ac:chgData name="Varinder Singh" userId="e78eab9f-fa20-4bd5-9745-875ae6e7a1cb" providerId="ADAL" clId="{4C1A7549-8337-48E2-96BC-0A27100205B1}" dt="2020-03-04T23:51:44.490" v="749" actId="207"/>
          <ac:spMkLst>
            <pc:docMk/>
            <pc:sldMk cId="2098398432" sldId="1565"/>
            <ac:spMk id="14" creationId="{0A3B1059-18AA-447F-A6D3-142AD1E0C6C2}"/>
          </ac:spMkLst>
        </pc:spChg>
        <pc:spChg chg="mod">
          <ac:chgData name="Varinder Singh" userId="e78eab9f-fa20-4bd5-9745-875ae6e7a1cb" providerId="ADAL" clId="{4C1A7549-8337-48E2-96BC-0A27100205B1}" dt="2020-03-04T23:33:34.479" v="626"/>
          <ac:spMkLst>
            <pc:docMk/>
            <pc:sldMk cId="2098398432" sldId="1565"/>
            <ac:spMk id="17" creationId="{C6192F67-CF00-44C4-8A6B-02127A584732}"/>
          </ac:spMkLst>
        </pc:spChg>
        <pc:spChg chg="mod">
          <ac:chgData name="Varinder Singh" userId="e78eab9f-fa20-4bd5-9745-875ae6e7a1cb" providerId="ADAL" clId="{4C1A7549-8337-48E2-96BC-0A27100205B1}" dt="2020-03-04T23:23:11.646" v="562" actId="20577"/>
          <ac:spMkLst>
            <pc:docMk/>
            <pc:sldMk cId="2098398432" sldId="1565"/>
            <ac:spMk id="19" creationId="{A7056B7B-BE57-49C1-B34D-391CE262A112}"/>
          </ac:spMkLst>
        </pc:spChg>
        <pc:spChg chg="mod">
          <ac:chgData name="Varinder Singh" userId="e78eab9f-fa20-4bd5-9745-875ae6e7a1cb" providerId="ADAL" clId="{4C1A7549-8337-48E2-96BC-0A27100205B1}" dt="2020-03-04T23:41:00.526" v="670" actId="5793"/>
          <ac:spMkLst>
            <pc:docMk/>
            <pc:sldMk cId="2098398432" sldId="1565"/>
            <ac:spMk id="21" creationId="{62A502C9-7DC7-41A5-A824-4784377E9CE4}"/>
          </ac:spMkLst>
        </pc:spChg>
        <pc:spChg chg="mod">
          <ac:chgData name="Varinder Singh" userId="e78eab9f-fa20-4bd5-9745-875ae6e7a1cb" providerId="ADAL" clId="{4C1A7549-8337-48E2-96BC-0A27100205B1}" dt="2020-03-04T23:37:36.201" v="640" actId="1076"/>
          <ac:spMkLst>
            <pc:docMk/>
            <pc:sldMk cId="2098398432" sldId="1565"/>
            <ac:spMk id="22" creationId="{5AE7494A-229D-4D96-ADAC-7ACC47A830EE}"/>
          </ac:spMkLst>
        </pc:spChg>
        <pc:picChg chg="add del mod">
          <ac:chgData name="Varinder Singh" userId="e78eab9f-fa20-4bd5-9745-875ae6e7a1cb" providerId="ADAL" clId="{4C1A7549-8337-48E2-96BC-0A27100205B1}" dt="2020-03-04T23:37:52.350" v="643" actId="478"/>
          <ac:picMkLst>
            <pc:docMk/>
            <pc:sldMk cId="2098398432" sldId="1565"/>
            <ac:picMk id="8" creationId="{4804ED49-0D5B-47A9-97DF-8601D4FCD5E4}"/>
          </ac:picMkLst>
        </pc:picChg>
        <pc:picChg chg="add del mod">
          <ac:chgData name="Varinder Singh" userId="e78eab9f-fa20-4bd5-9745-875ae6e7a1cb" providerId="ADAL" clId="{4C1A7549-8337-48E2-96BC-0A27100205B1}" dt="2020-03-04T23:35:22.754" v="631" actId="478"/>
          <ac:picMkLst>
            <pc:docMk/>
            <pc:sldMk cId="2098398432" sldId="1565"/>
            <ac:picMk id="9" creationId="{92D30264-10A7-4D55-A840-4D937C4D89A1}"/>
          </ac:picMkLst>
        </pc:picChg>
        <pc:picChg chg="add del mod">
          <ac:chgData name="Varinder Singh" userId="e78eab9f-fa20-4bd5-9745-875ae6e7a1cb" providerId="ADAL" clId="{4C1A7549-8337-48E2-96BC-0A27100205B1}" dt="2020-03-04T23:35:59.497" v="634" actId="1076"/>
          <ac:picMkLst>
            <pc:docMk/>
            <pc:sldMk cId="2098398432" sldId="1565"/>
            <ac:picMk id="10" creationId="{A8C03863-25AF-413A-B9C7-6FD9A02A0671}"/>
          </ac:picMkLst>
        </pc:picChg>
        <pc:picChg chg="add mod ord">
          <ac:chgData name="Varinder Singh" userId="e78eab9f-fa20-4bd5-9745-875ae6e7a1cb" providerId="ADAL" clId="{4C1A7549-8337-48E2-96BC-0A27100205B1}" dt="2020-03-04T23:40:28.755" v="654" actId="167"/>
          <ac:picMkLst>
            <pc:docMk/>
            <pc:sldMk cId="2098398432" sldId="1565"/>
            <ac:picMk id="11" creationId="{F2D59C35-182B-4BA8-A112-0308D45F51BB}"/>
          </ac:picMkLst>
        </pc:picChg>
        <pc:picChg chg="add del mod">
          <ac:chgData name="Varinder Singh" userId="e78eab9f-fa20-4bd5-9745-875ae6e7a1cb" providerId="ADAL" clId="{4C1A7549-8337-48E2-96BC-0A27100205B1}" dt="2020-03-04T23:39:41.448" v="651" actId="478"/>
          <ac:picMkLst>
            <pc:docMk/>
            <pc:sldMk cId="2098398432" sldId="1565"/>
            <ac:picMk id="12" creationId="{DF646466-F12A-4FE0-9AB2-84DE3429A970}"/>
          </ac:picMkLst>
        </pc:picChg>
        <pc:picChg chg="add mod ord">
          <ac:chgData name="Varinder Singh" userId="e78eab9f-fa20-4bd5-9745-875ae6e7a1cb" providerId="ADAL" clId="{4C1A7549-8337-48E2-96BC-0A27100205B1}" dt="2020-03-04T23:40:34.058" v="655" actId="167"/>
          <ac:picMkLst>
            <pc:docMk/>
            <pc:sldMk cId="2098398432" sldId="1565"/>
            <ac:picMk id="13" creationId="{3212DEFB-FC13-462D-A4B7-E52EB5B907C6}"/>
          </ac:picMkLst>
        </pc:picChg>
        <pc:picChg chg="del">
          <ac:chgData name="Varinder Singh" userId="e78eab9f-fa20-4bd5-9745-875ae6e7a1cb" providerId="ADAL" clId="{4C1A7549-8337-48E2-96BC-0A27100205B1}" dt="2020-03-04T23:24:54.384" v="576" actId="478"/>
          <ac:picMkLst>
            <pc:docMk/>
            <pc:sldMk cId="2098398432" sldId="1565"/>
            <ac:picMk id="15" creationId="{99C9D89A-A4E9-4DE1-AC7E-3BA60E8AE2B3}"/>
          </ac:picMkLst>
        </pc:picChg>
        <pc:picChg chg="del">
          <ac:chgData name="Varinder Singh" userId="e78eab9f-fa20-4bd5-9745-875ae6e7a1cb" providerId="ADAL" clId="{4C1A7549-8337-48E2-96BC-0A27100205B1}" dt="2020-03-04T23:26:55.397" v="585" actId="478"/>
          <ac:picMkLst>
            <pc:docMk/>
            <pc:sldMk cId="2098398432" sldId="1565"/>
            <ac:picMk id="18" creationId="{C87D61A6-FD40-49A9-A697-A78AA90A2CF1}"/>
          </ac:picMkLst>
        </pc:picChg>
        <pc:picChg chg="del">
          <ac:chgData name="Varinder Singh" userId="e78eab9f-fa20-4bd5-9745-875ae6e7a1cb" providerId="ADAL" clId="{4C1A7549-8337-48E2-96BC-0A27100205B1}" dt="2020-03-04T23:29:22.710" v="592" actId="478"/>
          <ac:picMkLst>
            <pc:docMk/>
            <pc:sldMk cId="2098398432" sldId="1565"/>
            <ac:picMk id="20" creationId="{05BD1422-DD4B-4329-9E20-0C2A6CEF46CB}"/>
          </ac:picMkLst>
        </pc:picChg>
      </pc:sldChg>
      <pc:sldChg chg="addSp modSp mod modAnim modNotesTx">
        <pc:chgData name="Varinder Singh" userId="e78eab9f-fa20-4bd5-9745-875ae6e7a1cb" providerId="ADAL" clId="{4C1A7549-8337-48E2-96BC-0A27100205B1}" dt="2020-03-05T00:06:23.657" v="1276" actId="20577"/>
        <pc:sldMkLst>
          <pc:docMk/>
          <pc:sldMk cId="2490951893" sldId="1566"/>
        </pc:sldMkLst>
        <pc:spChg chg="add mod">
          <ac:chgData name="Varinder Singh" userId="e78eab9f-fa20-4bd5-9745-875ae6e7a1cb" providerId="ADAL" clId="{4C1A7549-8337-48E2-96BC-0A27100205B1}" dt="2020-03-04T23:57:25.732" v="774" actId="692"/>
          <ac:spMkLst>
            <pc:docMk/>
            <pc:sldMk cId="2490951893" sldId="1566"/>
            <ac:spMk id="8" creationId="{2F94C61F-F2F2-48B7-A8BE-B77AE6692418}"/>
          </ac:spMkLst>
        </pc:spChg>
      </pc:sldChg>
      <pc:sldChg chg="modNotesTx">
        <pc:chgData name="Varinder Singh" userId="e78eab9f-fa20-4bd5-9745-875ae6e7a1cb" providerId="ADAL" clId="{4C1A7549-8337-48E2-96BC-0A27100205B1}" dt="2020-03-05T00:09:39.763" v="1277" actId="6549"/>
        <pc:sldMkLst>
          <pc:docMk/>
          <pc:sldMk cId="1719616079" sldId="1582"/>
        </pc:sldMkLst>
      </pc:sldChg>
      <pc:sldChg chg="modNotesTx">
        <pc:chgData name="Varinder Singh" userId="e78eab9f-fa20-4bd5-9745-875ae6e7a1cb" providerId="ADAL" clId="{4C1A7549-8337-48E2-96BC-0A27100205B1}" dt="2020-03-05T00:10:05.742" v="1278" actId="6549"/>
        <pc:sldMkLst>
          <pc:docMk/>
          <pc:sldMk cId="2497101253" sldId="1584"/>
        </pc:sldMkLst>
      </pc:sldChg>
      <pc:sldChg chg="modNotesTx">
        <pc:chgData name="Varinder Singh" userId="e78eab9f-fa20-4bd5-9745-875ae6e7a1cb" providerId="ADAL" clId="{4C1A7549-8337-48E2-96BC-0A27100205B1}" dt="2020-03-05T00:12:21.555" v="1285" actId="6549"/>
        <pc:sldMkLst>
          <pc:docMk/>
          <pc:sldMk cId="2258958738" sldId="1595"/>
        </pc:sldMkLst>
      </pc:sldChg>
      <pc:sldChg chg="modNotesTx">
        <pc:chgData name="Varinder Singh" userId="e78eab9f-fa20-4bd5-9745-875ae6e7a1cb" providerId="ADAL" clId="{4C1A7549-8337-48E2-96BC-0A27100205B1}" dt="2020-02-19T19:14:07.903" v="50" actId="20577"/>
        <pc:sldMkLst>
          <pc:docMk/>
          <pc:sldMk cId="3999315873" sldId="1601"/>
        </pc:sldMkLst>
      </pc:sldChg>
      <pc:sldChg chg="modNotesTx">
        <pc:chgData name="Varinder Singh" userId="e78eab9f-fa20-4bd5-9745-875ae6e7a1cb" providerId="ADAL" clId="{4C1A7549-8337-48E2-96BC-0A27100205B1}" dt="2020-03-04T22:51:50.251" v="98" actId="20577"/>
        <pc:sldMkLst>
          <pc:docMk/>
          <pc:sldMk cId="2741521458" sldId="1602"/>
        </pc:sldMkLst>
      </pc:sldChg>
      <pc:sldChg chg="modNotesTx">
        <pc:chgData name="Varinder Singh" userId="e78eab9f-fa20-4bd5-9745-875ae6e7a1cb" providerId="ADAL" clId="{4C1A7549-8337-48E2-96BC-0A27100205B1}" dt="2020-03-05T00:13:02.519" v="1288" actId="6549"/>
        <pc:sldMkLst>
          <pc:docMk/>
          <pc:sldMk cId="3027599026" sldId="1605"/>
        </pc:sldMkLst>
      </pc:sldChg>
      <pc:sldChg chg="modNotesTx">
        <pc:chgData name="Varinder Singh" userId="e78eab9f-fa20-4bd5-9745-875ae6e7a1cb" providerId="ADAL" clId="{4C1A7549-8337-48E2-96BC-0A27100205B1}" dt="2020-03-05T00:13:10.197" v="1289" actId="6549"/>
        <pc:sldMkLst>
          <pc:docMk/>
          <pc:sldMk cId="3677067881" sldId="1610"/>
        </pc:sldMkLst>
      </pc:sldChg>
    </pc:docChg>
  </pc:docChgLst>
  <pc:docChgLst>
    <pc:chgData name="Sam Mesel" userId="1ee7badb-5d1f-4872-89ae-dcf7b71f276a" providerId="ADAL" clId="{3A834B92-C854-41EB-B78E-15B3B7E41581}"/>
    <pc:docChg chg="undo custSel addSld delSld modSld modSection">
      <pc:chgData name="Sam Mesel" userId="1ee7badb-5d1f-4872-89ae-dcf7b71f276a" providerId="ADAL" clId="{3A834B92-C854-41EB-B78E-15B3B7E41581}" dt="2020-03-18T19:02:34.084" v="1098" actId="6549"/>
      <pc:docMkLst>
        <pc:docMk/>
      </pc:docMkLst>
      <pc:sldChg chg="modNotesTx">
        <pc:chgData name="Sam Mesel" userId="1ee7badb-5d1f-4872-89ae-dcf7b71f276a" providerId="ADAL" clId="{3A834B92-C854-41EB-B78E-15B3B7E41581}" dt="2020-03-18T18:05:20.294" v="731" actId="20577"/>
        <pc:sldMkLst>
          <pc:docMk/>
          <pc:sldMk cId="3735096506" sldId="563"/>
        </pc:sldMkLst>
      </pc:sldChg>
      <pc:sldChg chg="modNotesTx">
        <pc:chgData name="Sam Mesel" userId="1ee7badb-5d1f-4872-89ae-dcf7b71f276a" providerId="ADAL" clId="{3A834B92-C854-41EB-B78E-15B3B7E41581}" dt="2020-03-18T18:15:12.471" v="887" actId="20577"/>
        <pc:sldMkLst>
          <pc:docMk/>
          <pc:sldMk cId="4206133277" sldId="577"/>
        </pc:sldMkLst>
      </pc:sldChg>
      <pc:sldChg chg="addSp del mod">
        <pc:chgData name="Sam Mesel" userId="1ee7badb-5d1f-4872-89ae-dcf7b71f276a" providerId="ADAL" clId="{3A834B92-C854-41EB-B78E-15B3B7E41581}" dt="2020-03-07T16:21:01.329" v="17" actId="47"/>
        <pc:sldMkLst>
          <pc:docMk/>
          <pc:sldMk cId="2551646555" sldId="580"/>
        </pc:sldMkLst>
        <pc:spChg chg="add">
          <ac:chgData name="Sam Mesel" userId="1ee7badb-5d1f-4872-89ae-dcf7b71f276a" providerId="ADAL" clId="{3A834B92-C854-41EB-B78E-15B3B7E41581}" dt="2020-03-06T23:34:27.819" v="11" actId="22"/>
          <ac:spMkLst>
            <pc:docMk/>
            <pc:sldMk cId="2551646555" sldId="580"/>
            <ac:spMk id="4" creationId="{12C2FFF7-7C6C-4F11-BD33-71901E41F13E}"/>
          </ac:spMkLst>
        </pc:spChg>
      </pc:sldChg>
      <pc:sldChg chg="modSp modNotesTx">
        <pc:chgData name="Sam Mesel" userId="1ee7badb-5d1f-4872-89ae-dcf7b71f276a" providerId="ADAL" clId="{3A834B92-C854-41EB-B78E-15B3B7E41581}" dt="2020-03-18T18:55:40.898" v="973" actId="20577"/>
        <pc:sldMkLst>
          <pc:docMk/>
          <pc:sldMk cId="1635185343" sldId="587"/>
        </pc:sldMkLst>
        <pc:graphicFrameChg chg="mod">
          <ac:chgData name="Sam Mesel" userId="1ee7badb-5d1f-4872-89ae-dcf7b71f276a" providerId="ADAL" clId="{3A834B92-C854-41EB-B78E-15B3B7E41581}" dt="2020-03-18T18:55:11.030" v="946" actId="20577"/>
          <ac:graphicFrameMkLst>
            <pc:docMk/>
            <pc:sldMk cId="1635185343" sldId="587"/>
            <ac:graphicFrameMk id="4" creationId="{5EB67473-B9AC-42FF-84B1-0BB13E3BE1FF}"/>
          </ac:graphicFrameMkLst>
        </pc:graphicFrameChg>
      </pc:sldChg>
      <pc:sldChg chg="modSp mod modNotesTx">
        <pc:chgData name="Sam Mesel" userId="1ee7badb-5d1f-4872-89ae-dcf7b71f276a" providerId="ADAL" clId="{3A834B92-C854-41EB-B78E-15B3B7E41581}" dt="2020-03-18T19:02:34.084" v="1098" actId="6549"/>
        <pc:sldMkLst>
          <pc:docMk/>
          <pc:sldMk cId="1737290916" sldId="591"/>
        </pc:sldMkLst>
        <pc:spChg chg="mod">
          <ac:chgData name="Sam Mesel" userId="1ee7badb-5d1f-4872-89ae-dcf7b71f276a" providerId="ADAL" clId="{3A834B92-C854-41EB-B78E-15B3B7E41581}" dt="2020-03-18T19:02:28.311" v="1093" actId="20577"/>
          <ac:spMkLst>
            <pc:docMk/>
            <pc:sldMk cId="1737290916" sldId="591"/>
            <ac:spMk id="7" creationId="{3BB1B8AF-5295-4D0C-8C03-B4CAC7E2587F}"/>
          </ac:spMkLst>
        </pc:spChg>
      </pc:sldChg>
      <pc:sldChg chg="modSp">
        <pc:chgData name="Sam Mesel" userId="1ee7badb-5d1f-4872-89ae-dcf7b71f276a" providerId="ADAL" clId="{3A834B92-C854-41EB-B78E-15B3B7E41581}" dt="2020-03-18T18:08:57.714" v="776" actId="20577"/>
        <pc:sldMkLst>
          <pc:docMk/>
          <pc:sldMk cId="4116196337" sldId="597"/>
        </pc:sldMkLst>
        <pc:graphicFrameChg chg="mod">
          <ac:chgData name="Sam Mesel" userId="1ee7badb-5d1f-4872-89ae-dcf7b71f276a" providerId="ADAL" clId="{3A834B92-C854-41EB-B78E-15B3B7E41581}" dt="2020-03-18T18:08:57.714" v="776" actId="20577"/>
          <ac:graphicFrameMkLst>
            <pc:docMk/>
            <pc:sldMk cId="4116196337" sldId="597"/>
            <ac:graphicFrameMk id="5" creationId="{78BFB731-FB43-4ACF-BB33-E13D7229B2EF}"/>
          </ac:graphicFrameMkLst>
        </pc:graphicFrameChg>
      </pc:sldChg>
      <pc:sldChg chg="modSp mod">
        <pc:chgData name="Sam Mesel" userId="1ee7badb-5d1f-4872-89ae-dcf7b71f276a" providerId="ADAL" clId="{3A834B92-C854-41EB-B78E-15B3B7E41581}" dt="2020-03-18T18:12:57.529" v="848" actId="5793"/>
        <pc:sldMkLst>
          <pc:docMk/>
          <pc:sldMk cId="1844264441" sldId="1546"/>
        </pc:sldMkLst>
        <pc:spChg chg="mod">
          <ac:chgData name="Sam Mesel" userId="1ee7badb-5d1f-4872-89ae-dcf7b71f276a" providerId="ADAL" clId="{3A834B92-C854-41EB-B78E-15B3B7E41581}" dt="2020-03-18T18:12:57.529" v="848" actId="5793"/>
          <ac:spMkLst>
            <pc:docMk/>
            <pc:sldMk cId="1844264441" sldId="1546"/>
            <ac:spMk id="4" creationId="{F3616A99-090F-45E1-9334-58D58B148205}"/>
          </ac:spMkLst>
        </pc:spChg>
        <pc:spChg chg="mod">
          <ac:chgData name="Sam Mesel" userId="1ee7badb-5d1f-4872-89ae-dcf7b71f276a" providerId="ADAL" clId="{3A834B92-C854-41EB-B78E-15B3B7E41581}" dt="2020-03-18T18:12:11.099" v="844" actId="1076"/>
          <ac:spMkLst>
            <pc:docMk/>
            <pc:sldMk cId="1844264441" sldId="1546"/>
            <ac:spMk id="5" creationId="{7C684229-8F9E-4FE4-BEB3-C74B8A73A42F}"/>
          </ac:spMkLst>
        </pc:spChg>
        <pc:graphicFrameChg chg="mod">
          <ac:chgData name="Sam Mesel" userId="1ee7badb-5d1f-4872-89ae-dcf7b71f276a" providerId="ADAL" clId="{3A834B92-C854-41EB-B78E-15B3B7E41581}" dt="2020-03-18T18:12:03.102" v="842" actId="1076"/>
          <ac:graphicFrameMkLst>
            <pc:docMk/>
            <pc:sldMk cId="1844264441" sldId="1546"/>
            <ac:graphicFrameMk id="6" creationId="{E626F32D-55D9-46C8-B921-8D7923DE8C88}"/>
          </ac:graphicFrameMkLst>
        </pc:graphicFrameChg>
      </pc:sldChg>
      <pc:sldChg chg="modSp mod">
        <pc:chgData name="Sam Mesel" userId="1ee7badb-5d1f-4872-89ae-dcf7b71f276a" providerId="ADAL" clId="{3A834B92-C854-41EB-B78E-15B3B7E41581}" dt="2020-03-18T18:02:26.895" v="681" actId="20577"/>
        <pc:sldMkLst>
          <pc:docMk/>
          <pc:sldMk cId="3965515432" sldId="1554"/>
        </pc:sldMkLst>
        <pc:spChg chg="mod">
          <ac:chgData name="Sam Mesel" userId="1ee7badb-5d1f-4872-89ae-dcf7b71f276a" providerId="ADAL" clId="{3A834B92-C854-41EB-B78E-15B3B7E41581}" dt="2020-03-18T18:02:26.895" v="681" actId="20577"/>
          <ac:spMkLst>
            <pc:docMk/>
            <pc:sldMk cId="3965515432" sldId="1554"/>
            <ac:spMk id="6" creationId="{664783E4-7D4D-4C6D-A1CE-9C1363D03754}"/>
          </ac:spMkLst>
        </pc:spChg>
      </pc:sldChg>
      <pc:sldChg chg="addSp delSp modSp mod delAnim modAnim">
        <pc:chgData name="Sam Mesel" userId="1ee7badb-5d1f-4872-89ae-dcf7b71f276a" providerId="ADAL" clId="{3A834B92-C854-41EB-B78E-15B3B7E41581}" dt="2020-03-18T16:48:16.108" v="678" actId="166"/>
        <pc:sldMkLst>
          <pc:docMk/>
          <pc:sldMk cId="3568518801" sldId="1562"/>
        </pc:sldMkLst>
        <pc:spChg chg="del mod">
          <ac:chgData name="Sam Mesel" userId="1ee7badb-5d1f-4872-89ae-dcf7b71f276a" providerId="ADAL" clId="{3A834B92-C854-41EB-B78E-15B3B7E41581}" dt="2020-03-18T16:19:22.791" v="285" actId="478"/>
          <ac:spMkLst>
            <pc:docMk/>
            <pc:sldMk cId="3568518801" sldId="1562"/>
            <ac:spMk id="4" creationId="{F3616A99-090F-45E1-9334-58D58B148205}"/>
          </ac:spMkLst>
        </pc:spChg>
        <pc:spChg chg="mod ord">
          <ac:chgData name="Sam Mesel" userId="1ee7badb-5d1f-4872-89ae-dcf7b71f276a" providerId="ADAL" clId="{3A834B92-C854-41EB-B78E-15B3B7E41581}" dt="2020-03-18T16:48:16.108" v="678" actId="166"/>
          <ac:spMkLst>
            <pc:docMk/>
            <pc:sldMk cId="3568518801" sldId="1562"/>
            <ac:spMk id="12" creationId="{1E2C0E7B-AFE4-4B9B-B9DC-E6777B84A2CB}"/>
          </ac:spMkLst>
        </pc:spChg>
        <pc:spChg chg="mod">
          <ac:chgData name="Sam Mesel" userId="1ee7badb-5d1f-4872-89ae-dcf7b71f276a" providerId="ADAL" clId="{3A834B92-C854-41EB-B78E-15B3B7E41581}" dt="2020-03-18T16:42:57.231" v="514" actId="20577"/>
          <ac:spMkLst>
            <pc:docMk/>
            <pc:sldMk cId="3568518801" sldId="1562"/>
            <ac:spMk id="17" creationId="{C6192F67-CF00-44C4-8A6B-02127A584732}"/>
          </ac:spMkLst>
        </pc:spChg>
        <pc:spChg chg="mod">
          <ac:chgData name="Sam Mesel" userId="1ee7badb-5d1f-4872-89ae-dcf7b71f276a" providerId="ADAL" clId="{3A834B92-C854-41EB-B78E-15B3B7E41581}" dt="2020-03-18T16:45:44.275" v="640" actId="6549"/>
          <ac:spMkLst>
            <pc:docMk/>
            <pc:sldMk cId="3568518801" sldId="1562"/>
            <ac:spMk id="19" creationId="{A7056B7B-BE57-49C1-B34D-391CE262A112}"/>
          </ac:spMkLst>
        </pc:spChg>
        <pc:picChg chg="add mod">
          <ac:chgData name="Sam Mesel" userId="1ee7badb-5d1f-4872-89ae-dcf7b71f276a" providerId="ADAL" clId="{3A834B92-C854-41EB-B78E-15B3B7E41581}" dt="2020-03-18T16:46:10.010" v="643" actId="1076"/>
          <ac:picMkLst>
            <pc:docMk/>
            <pc:sldMk cId="3568518801" sldId="1562"/>
            <ac:picMk id="8" creationId="{E9FF237F-03AC-4227-8809-DAAF29D61CA6}"/>
          </ac:picMkLst>
        </pc:picChg>
        <pc:picChg chg="del mod">
          <ac:chgData name="Sam Mesel" userId="1ee7badb-5d1f-4872-89ae-dcf7b71f276a" providerId="ADAL" clId="{3A834B92-C854-41EB-B78E-15B3B7E41581}" dt="2020-03-18T16:46:04.730" v="641" actId="478"/>
          <ac:picMkLst>
            <pc:docMk/>
            <pc:sldMk cId="3568518801" sldId="1562"/>
            <ac:picMk id="9" creationId="{1F635A40-FAB0-48A6-AE6F-816DB04300E7}"/>
          </ac:picMkLst>
        </pc:picChg>
        <pc:picChg chg="add mod">
          <ac:chgData name="Sam Mesel" userId="1ee7badb-5d1f-4872-89ae-dcf7b71f276a" providerId="ADAL" clId="{3A834B92-C854-41EB-B78E-15B3B7E41581}" dt="2020-03-18T16:47:01.874" v="664" actId="1076"/>
          <ac:picMkLst>
            <pc:docMk/>
            <pc:sldMk cId="3568518801" sldId="1562"/>
            <ac:picMk id="10" creationId="{970C7205-F683-456E-B66A-9E1E1A01B418}"/>
          </ac:picMkLst>
        </pc:picChg>
        <pc:picChg chg="del mod">
          <ac:chgData name="Sam Mesel" userId="1ee7badb-5d1f-4872-89ae-dcf7b71f276a" providerId="ADAL" clId="{3A834B92-C854-41EB-B78E-15B3B7E41581}" dt="2020-03-18T16:46:54.899" v="662" actId="478"/>
          <ac:picMkLst>
            <pc:docMk/>
            <pc:sldMk cId="3568518801" sldId="1562"/>
            <ac:picMk id="14" creationId="{35792183-C021-4E96-A9D2-E7C458618342}"/>
          </ac:picMkLst>
        </pc:picChg>
        <pc:picChg chg="del mod">
          <ac:chgData name="Sam Mesel" userId="1ee7badb-5d1f-4872-89ae-dcf7b71f276a" providerId="ADAL" clId="{3A834B92-C854-41EB-B78E-15B3B7E41581}" dt="2020-03-18T16:47:31.238" v="675" actId="478"/>
          <ac:picMkLst>
            <pc:docMk/>
            <pc:sldMk cId="3568518801" sldId="1562"/>
            <ac:picMk id="18" creationId="{97A272DB-2F2A-48DA-833E-2DC11F57F51F}"/>
          </ac:picMkLst>
        </pc:picChg>
        <pc:picChg chg="add mod">
          <ac:chgData name="Sam Mesel" userId="1ee7badb-5d1f-4872-89ae-dcf7b71f276a" providerId="ADAL" clId="{3A834B92-C854-41EB-B78E-15B3B7E41581}" dt="2020-03-18T16:47:40.540" v="677" actId="1076"/>
          <ac:picMkLst>
            <pc:docMk/>
            <pc:sldMk cId="3568518801" sldId="1562"/>
            <ac:picMk id="20" creationId="{2184F5F2-EBA5-4435-A0D9-0D381C7E956F}"/>
          </ac:picMkLst>
        </pc:picChg>
      </pc:sldChg>
      <pc:sldChg chg="delSp modSp mod delAnim modAnim">
        <pc:chgData name="Sam Mesel" userId="1ee7badb-5d1f-4872-89ae-dcf7b71f276a" providerId="ADAL" clId="{3A834B92-C854-41EB-B78E-15B3B7E41581}" dt="2020-03-18T16:17:16.366" v="275" actId="20577"/>
        <pc:sldMkLst>
          <pc:docMk/>
          <pc:sldMk cId="2098398432" sldId="1565"/>
        </pc:sldMkLst>
        <pc:spChg chg="mod">
          <ac:chgData name="Sam Mesel" userId="1ee7badb-5d1f-4872-89ae-dcf7b71f276a" providerId="ADAL" clId="{3A834B92-C854-41EB-B78E-15B3B7E41581}" dt="2020-03-18T16:08:09.984" v="165" actId="14100"/>
          <ac:spMkLst>
            <pc:docMk/>
            <pc:sldMk cId="2098398432" sldId="1565"/>
            <ac:spMk id="4" creationId="{F3616A99-090F-45E1-9334-58D58B148205}"/>
          </ac:spMkLst>
        </pc:spChg>
        <pc:spChg chg="mod">
          <ac:chgData name="Sam Mesel" userId="1ee7badb-5d1f-4872-89ae-dcf7b71f276a" providerId="ADAL" clId="{3A834B92-C854-41EB-B78E-15B3B7E41581}" dt="2020-03-18T16:08:03.813" v="164" actId="1076"/>
          <ac:spMkLst>
            <pc:docMk/>
            <pc:sldMk cId="2098398432" sldId="1565"/>
            <ac:spMk id="5" creationId="{49CE6B05-2EC6-4B86-806C-FC2626295762}"/>
          </ac:spMkLst>
        </pc:spChg>
        <pc:spChg chg="mod">
          <ac:chgData name="Sam Mesel" userId="1ee7badb-5d1f-4872-89ae-dcf7b71f276a" providerId="ADAL" clId="{3A834B92-C854-41EB-B78E-15B3B7E41581}" dt="2020-03-18T16:08:03.813" v="164" actId="1076"/>
          <ac:spMkLst>
            <pc:docMk/>
            <pc:sldMk cId="2098398432" sldId="1565"/>
            <ac:spMk id="6" creationId="{3B944314-B862-4CCB-AC92-020006A1A367}"/>
          </ac:spMkLst>
        </pc:spChg>
        <pc:spChg chg="del mod">
          <ac:chgData name="Sam Mesel" userId="1ee7badb-5d1f-4872-89ae-dcf7b71f276a" providerId="ADAL" clId="{3A834B92-C854-41EB-B78E-15B3B7E41581}" dt="2020-03-18T16:17:03.310" v="273" actId="478"/>
          <ac:spMkLst>
            <pc:docMk/>
            <pc:sldMk cId="2098398432" sldId="1565"/>
            <ac:spMk id="14" creationId="{0A3B1059-18AA-447F-A6D3-142AD1E0C6C2}"/>
          </ac:spMkLst>
        </pc:spChg>
        <pc:spChg chg="mod">
          <ac:chgData name="Sam Mesel" userId="1ee7badb-5d1f-4872-89ae-dcf7b71f276a" providerId="ADAL" clId="{3A834B92-C854-41EB-B78E-15B3B7E41581}" dt="2020-03-18T16:08:03.813" v="164" actId="1076"/>
          <ac:spMkLst>
            <pc:docMk/>
            <pc:sldMk cId="2098398432" sldId="1565"/>
            <ac:spMk id="16" creationId="{E2360C57-A36C-4E85-950A-A7D1775D077D}"/>
          </ac:spMkLst>
        </pc:spChg>
        <pc:spChg chg="mod">
          <ac:chgData name="Sam Mesel" userId="1ee7badb-5d1f-4872-89ae-dcf7b71f276a" providerId="ADAL" clId="{3A834B92-C854-41EB-B78E-15B3B7E41581}" dt="2020-03-18T16:17:12.881" v="274" actId="20577"/>
          <ac:spMkLst>
            <pc:docMk/>
            <pc:sldMk cId="2098398432" sldId="1565"/>
            <ac:spMk id="17" creationId="{C6192F67-CF00-44C4-8A6B-02127A584732}"/>
          </ac:spMkLst>
        </pc:spChg>
        <pc:spChg chg="mod">
          <ac:chgData name="Sam Mesel" userId="1ee7badb-5d1f-4872-89ae-dcf7b71f276a" providerId="ADAL" clId="{3A834B92-C854-41EB-B78E-15B3B7E41581}" dt="2020-03-18T16:17:16.366" v="275" actId="20577"/>
          <ac:spMkLst>
            <pc:docMk/>
            <pc:sldMk cId="2098398432" sldId="1565"/>
            <ac:spMk id="19" creationId="{A7056B7B-BE57-49C1-B34D-391CE262A112}"/>
          </ac:spMkLst>
        </pc:spChg>
        <pc:spChg chg="mod ord">
          <ac:chgData name="Sam Mesel" userId="1ee7badb-5d1f-4872-89ae-dcf7b71f276a" providerId="ADAL" clId="{3A834B92-C854-41EB-B78E-15B3B7E41581}" dt="2020-03-18T16:14:35.878" v="256" actId="14100"/>
          <ac:spMkLst>
            <pc:docMk/>
            <pc:sldMk cId="2098398432" sldId="1565"/>
            <ac:spMk id="21" creationId="{62A502C9-7DC7-41A5-A824-4784377E9CE4}"/>
          </ac:spMkLst>
        </pc:spChg>
        <pc:spChg chg="mod">
          <ac:chgData name="Sam Mesel" userId="1ee7badb-5d1f-4872-89ae-dcf7b71f276a" providerId="ADAL" clId="{3A834B92-C854-41EB-B78E-15B3B7E41581}" dt="2020-03-18T16:14:28.470" v="255" actId="14100"/>
          <ac:spMkLst>
            <pc:docMk/>
            <pc:sldMk cId="2098398432" sldId="1565"/>
            <ac:spMk id="22" creationId="{5AE7494A-229D-4D96-ADAC-7ACC47A830EE}"/>
          </ac:spMkLst>
        </pc:spChg>
        <pc:picChg chg="mod">
          <ac:chgData name="Sam Mesel" userId="1ee7badb-5d1f-4872-89ae-dcf7b71f276a" providerId="ADAL" clId="{3A834B92-C854-41EB-B78E-15B3B7E41581}" dt="2020-03-18T16:12:20.282" v="239" actId="1076"/>
          <ac:picMkLst>
            <pc:docMk/>
            <pc:sldMk cId="2098398432" sldId="1565"/>
            <ac:picMk id="9" creationId="{92D30264-10A7-4D55-A840-4D937C4D89A1}"/>
          </ac:picMkLst>
        </pc:picChg>
        <pc:picChg chg="mod">
          <ac:chgData name="Sam Mesel" userId="1ee7badb-5d1f-4872-89ae-dcf7b71f276a" providerId="ADAL" clId="{3A834B92-C854-41EB-B78E-15B3B7E41581}" dt="2020-03-18T16:11:47.942" v="238" actId="1076"/>
          <ac:picMkLst>
            <pc:docMk/>
            <pc:sldMk cId="2098398432" sldId="1565"/>
            <ac:picMk id="10" creationId="{A8C03863-25AF-413A-B9C7-6FD9A02A0671}"/>
          </ac:picMkLst>
        </pc:picChg>
        <pc:picChg chg="mod">
          <ac:chgData name="Sam Mesel" userId="1ee7badb-5d1f-4872-89ae-dcf7b71f276a" providerId="ADAL" clId="{3A834B92-C854-41EB-B78E-15B3B7E41581}" dt="2020-03-18T16:11:47.942" v="238" actId="1076"/>
          <ac:picMkLst>
            <pc:docMk/>
            <pc:sldMk cId="2098398432" sldId="1565"/>
            <ac:picMk id="11" creationId="{F2D59C35-182B-4BA8-A112-0308D45F51BB}"/>
          </ac:picMkLst>
        </pc:picChg>
        <pc:picChg chg="mod">
          <ac:chgData name="Sam Mesel" userId="1ee7badb-5d1f-4872-89ae-dcf7b71f276a" providerId="ADAL" clId="{3A834B92-C854-41EB-B78E-15B3B7E41581}" dt="2020-03-18T16:12:20.282" v="239" actId="1076"/>
          <ac:picMkLst>
            <pc:docMk/>
            <pc:sldMk cId="2098398432" sldId="1565"/>
            <ac:picMk id="13" creationId="{3212DEFB-FC13-462D-A4B7-E52EB5B907C6}"/>
          </ac:picMkLst>
        </pc:picChg>
        <pc:cxnChg chg="mod">
          <ac:chgData name="Sam Mesel" userId="1ee7badb-5d1f-4872-89ae-dcf7b71f276a" providerId="ADAL" clId="{3A834B92-C854-41EB-B78E-15B3B7E41581}" dt="2020-03-18T16:08:03.813" v="164" actId="1076"/>
          <ac:cxnSpMkLst>
            <pc:docMk/>
            <pc:sldMk cId="2098398432" sldId="1565"/>
            <ac:cxnSpMk id="7" creationId="{8A9DAF70-369D-4193-82A9-21E764A4C2D9}"/>
          </ac:cxnSpMkLst>
        </pc:cxnChg>
      </pc:sldChg>
      <pc:sldChg chg="modSp mod modAnim">
        <pc:chgData name="Sam Mesel" userId="1ee7badb-5d1f-4872-89ae-dcf7b71f276a" providerId="ADAL" clId="{3A834B92-C854-41EB-B78E-15B3B7E41581}" dt="2020-03-18T16:37:29.267" v="448" actId="1076"/>
        <pc:sldMkLst>
          <pc:docMk/>
          <pc:sldMk cId="2490951893" sldId="1566"/>
        </pc:sldMkLst>
        <pc:spChg chg="mod">
          <ac:chgData name="Sam Mesel" userId="1ee7badb-5d1f-4872-89ae-dcf7b71f276a" providerId="ADAL" clId="{3A834B92-C854-41EB-B78E-15B3B7E41581}" dt="2020-03-18T16:32:24.892" v="399" actId="1037"/>
          <ac:spMkLst>
            <pc:docMk/>
            <pc:sldMk cId="2490951893" sldId="1566"/>
            <ac:spMk id="16" creationId="{E2360C57-A36C-4E85-950A-A7D1775D077D}"/>
          </ac:spMkLst>
        </pc:spChg>
        <pc:spChg chg="mod">
          <ac:chgData name="Sam Mesel" userId="1ee7badb-5d1f-4872-89ae-dcf7b71f276a" providerId="ADAL" clId="{3A834B92-C854-41EB-B78E-15B3B7E41581}" dt="2020-03-18T16:36:50.602" v="444" actId="20577"/>
          <ac:spMkLst>
            <pc:docMk/>
            <pc:sldMk cId="2490951893" sldId="1566"/>
            <ac:spMk id="17" creationId="{C6192F67-CF00-44C4-8A6B-02127A584732}"/>
          </ac:spMkLst>
        </pc:spChg>
        <pc:spChg chg="mod">
          <ac:chgData name="Sam Mesel" userId="1ee7badb-5d1f-4872-89ae-dcf7b71f276a" providerId="ADAL" clId="{3A834B92-C854-41EB-B78E-15B3B7E41581}" dt="2020-03-18T16:36:52.548" v="445" actId="20577"/>
          <ac:spMkLst>
            <pc:docMk/>
            <pc:sldMk cId="2490951893" sldId="1566"/>
            <ac:spMk id="19" creationId="{A7056B7B-BE57-49C1-B34D-391CE262A112}"/>
          </ac:spMkLst>
        </pc:spChg>
        <pc:spChg chg="mod">
          <ac:chgData name="Sam Mesel" userId="1ee7badb-5d1f-4872-89ae-dcf7b71f276a" providerId="ADAL" clId="{3A834B92-C854-41EB-B78E-15B3B7E41581}" dt="2020-03-18T16:37:29.267" v="448" actId="1076"/>
          <ac:spMkLst>
            <pc:docMk/>
            <pc:sldMk cId="2490951893" sldId="1566"/>
            <ac:spMk id="20" creationId="{797431F0-2CB6-4F08-9EC1-E7B0CDF86486}"/>
          </ac:spMkLst>
        </pc:spChg>
        <pc:spChg chg="mod">
          <ac:chgData name="Sam Mesel" userId="1ee7badb-5d1f-4872-89ae-dcf7b71f276a" providerId="ADAL" clId="{3A834B92-C854-41EB-B78E-15B3B7E41581}" dt="2020-03-18T16:35:32.274" v="440" actId="20577"/>
          <ac:spMkLst>
            <pc:docMk/>
            <pc:sldMk cId="2490951893" sldId="1566"/>
            <ac:spMk id="23" creationId="{31EC46D9-D029-46F2-8966-FA25ECAA80B2}"/>
          </ac:spMkLst>
        </pc:spChg>
        <pc:picChg chg="mod">
          <ac:chgData name="Sam Mesel" userId="1ee7badb-5d1f-4872-89ae-dcf7b71f276a" providerId="ADAL" clId="{3A834B92-C854-41EB-B78E-15B3B7E41581}" dt="2020-03-18T16:37:29.267" v="448" actId="1076"/>
          <ac:picMkLst>
            <pc:docMk/>
            <pc:sldMk cId="2490951893" sldId="1566"/>
            <ac:picMk id="15" creationId="{8EC32CAC-53BE-44F7-8A12-3ED7E5AB4FCF}"/>
          </ac:picMkLst>
        </pc:picChg>
        <pc:picChg chg="mod">
          <ac:chgData name="Sam Mesel" userId="1ee7badb-5d1f-4872-89ae-dcf7b71f276a" providerId="ADAL" clId="{3A834B92-C854-41EB-B78E-15B3B7E41581}" dt="2020-03-18T16:37:29.267" v="448" actId="1076"/>
          <ac:picMkLst>
            <pc:docMk/>
            <pc:sldMk cId="2490951893" sldId="1566"/>
            <ac:picMk id="18" creationId="{8265FAC3-701D-4FD4-8463-BA7B01E383B9}"/>
          </ac:picMkLst>
        </pc:picChg>
        <pc:cxnChg chg="mod">
          <ac:chgData name="Sam Mesel" userId="1ee7badb-5d1f-4872-89ae-dcf7b71f276a" providerId="ADAL" clId="{3A834B92-C854-41EB-B78E-15B3B7E41581}" dt="2020-03-18T16:32:24.892" v="399" actId="1037"/>
          <ac:cxnSpMkLst>
            <pc:docMk/>
            <pc:sldMk cId="2490951893" sldId="1566"/>
            <ac:cxnSpMk id="7" creationId="{8A9DAF70-369D-4193-82A9-21E764A4C2D9}"/>
          </ac:cxnSpMkLst>
        </pc:cxnChg>
      </pc:sldChg>
      <pc:sldChg chg="addSp modSp del mod">
        <pc:chgData name="Sam Mesel" userId="1ee7badb-5d1f-4872-89ae-dcf7b71f276a" providerId="ADAL" clId="{3A834B92-C854-41EB-B78E-15B3B7E41581}" dt="2020-03-07T16:20:57.925" v="15" actId="47"/>
        <pc:sldMkLst>
          <pc:docMk/>
          <pc:sldMk cId="1015118762" sldId="1588"/>
        </pc:sldMkLst>
        <pc:spChg chg="add mod">
          <ac:chgData name="Sam Mesel" userId="1ee7badb-5d1f-4872-89ae-dcf7b71f276a" providerId="ADAL" clId="{3A834B92-C854-41EB-B78E-15B3B7E41581}" dt="2020-03-06T23:33:02.227" v="7" actId="20577"/>
          <ac:spMkLst>
            <pc:docMk/>
            <pc:sldMk cId="1015118762" sldId="1588"/>
            <ac:spMk id="4" creationId="{78B77BFE-D4F2-4733-9FEB-84FDDEB815F6}"/>
          </ac:spMkLst>
        </pc:spChg>
      </pc:sldChg>
      <pc:sldChg chg="addSp del mod">
        <pc:chgData name="Sam Mesel" userId="1ee7badb-5d1f-4872-89ae-dcf7b71f276a" providerId="ADAL" clId="{3A834B92-C854-41EB-B78E-15B3B7E41581}" dt="2020-03-07T16:21:00.200" v="16" actId="47"/>
        <pc:sldMkLst>
          <pc:docMk/>
          <pc:sldMk cId="3445598566" sldId="1590"/>
        </pc:sldMkLst>
        <pc:spChg chg="add">
          <ac:chgData name="Sam Mesel" userId="1ee7badb-5d1f-4872-89ae-dcf7b71f276a" providerId="ADAL" clId="{3A834B92-C854-41EB-B78E-15B3B7E41581}" dt="2020-03-06T23:34:13.740" v="10" actId="22"/>
          <ac:spMkLst>
            <pc:docMk/>
            <pc:sldMk cId="3445598566" sldId="1590"/>
            <ac:spMk id="4" creationId="{57D622AB-5965-456C-A572-0D9E4DF43602}"/>
          </ac:spMkLst>
        </pc:spChg>
      </pc:sldChg>
      <pc:sldChg chg="addSp del mod">
        <pc:chgData name="Sam Mesel" userId="1ee7badb-5d1f-4872-89ae-dcf7b71f276a" providerId="ADAL" clId="{3A834B92-C854-41EB-B78E-15B3B7E41581}" dt="2020-03-07T16:21:02.287" v="18" actId="47"/>
        <pc:sldMkLst>
          <pc:docMk/>
          <pc:sldMk cId="2550072461" sldId="1591"/>
        </pc:sldMkLst>
        <pc:spChg chg="add">
          <ac:chgData name="Sam Mesel" userId="1ee7badb-5d1f-4872-89ae-dcf7b71f276a" providerId="ADAL" clId="{3A834B92-C854-41EB-B78E-15B3B7E41581}" dt="2020-03-06T23:35:08.445" v="12" actId="22"/>
          <ac:spMkLst>
            <pc:docMk/>
            <pc:sldMk cId="2550072461" sldId="1591"/>
            <ac:spMk id="5" creationId="{4E4E8D54-0F9E-4FE2-889F-66F980066D35}"/>
          </ac:spMkLst>
        </pc:spChg>
      </pc:sldChg>
      <pc:sldChg chg="addSp del mod">
        <pc:chgData name="Sam Mesel" userId="1ee7badb-5d1f-4872-89ae-dcf7b71f276a" providerId="ADAL" clId="{3A834B92-C854-41EB-B78E-15B3B7E41581}" dt="2020-03-07T16:21:04.376" v="19" actId="47"/>
        <pc:sldMkLst>
          <pc:docMk/>
          <pc:sldMk cId="1338874105" sldId="1593"/>
        </pc:sldMkLst>
        <pc:spChg chg="add">
          <ac:chgData name="Sam Mesel" userId="1ee7badb-5d1f-4872-89ae-dcf7b71f276a" providerId="ADAL" clId="{3A834B92-C854-41EB-B78E-15B3B7E41581}" dt="2020-03-06T23:36:29.529" v="13" actId="22"/>
          <ac:spMkLst>
            <pc:docMk/>
            <pc:sldMk cId="1338874105" sldId="1593"/>
            <ac:spMk id="4" creationId="{5E66E2A2-6FEB-4FC4-BAD6-99811738F838}"/>
          </ac:spMkLst>
        </pc:spChg>
      </pc:sldChg>
      <pc:sldChg chg="addSp del mod">
        <pc:chgData name="Sam Mesel" userId="1ee7badb-5d1f-4872-89ae-dcf7b71f276a" providerId="ADAL" clId="{3A834B92-C854-41EB-B78E-15B3B7E41581}" dt="2020-03-07T16:21:07.053" v="20" actId="47"/>
        <pc:sldMkLst>
          <pc:docMk/>
          <pc:sldMk cId="553282492" sldId="1594"/>
        </pc:sldMkLst>
        <pc:spChg chg="add">
          <ac:chgData name="Sam Mesel" userId="1ee7badb-5d1f-4872-89ae-dcf7b71f276a" providerId="ADAL" clId="{3A834B92-C854-41EB-B78E-15B3B7E41581}" dt="2020-03-06T23:36:46.109" v="14" actId="22"/>
          <ac:spMkLst>
            <pc:docMk/>
            <pc:sldMk cId="553282492" sldId="1594"/>
            <ac:spMk id="4" creationId="{2E7080BE-181C-4A5C-9BB5-300387914CFA}"/>
          </ac:spMkLst>
        </pc:spChg>
      </pc:sldChg>
      <pc:sldChg chg="modNotesTx">
        <pc:chgData name="Sam Mesel" userId="1ee7badb-5d1f-4872-89ae-dcf7b71f276a" providerId="ADAL" clId="{3A834B92-C854-41EB-B78E-15B3B7E41581}" dt="2020-03-18T18:01:12.564" v="679" actId="6549"/>
        <pc:sldMkLst>
          <pc:docMk/>
          <pc:sldMk cId="2741521458" sldId="1602"/>
        </pc:sldMkLst>
      </pc:sldChg>
      <pc:sldChg chg="modSp">
        <pc:chgData name="Sam Mesel" userId="1ee7badb-5d1f-4872-89ae-dcf7b71f276a" providerId="ADAL" clId="{3A834B92-C854-41EB-B78E-15B3B7E41581}" dt="2020-03-18T18:57:46.658" v="1042" actId="20577"/>
        <pc:sldMkLst>
          <pc:docMk/>
          <pc:sldMk cId="4233881779" sldId="1603"/>
        </pc:sldMkLst>
        <pc:graphicFrameChg chg="mod">
          <ac:chgData name="Sam Mesel" userId="1ee7badb-5d1f-4872-89ae-dcf7b71f276a" providerId="ADAL" clId="{3A834B92-C854-41EB-B78E-15B3B7E41581}" dt="2020-03-18T18:57:46.658" v="1042" actId="20577"/>
          <ac:graphicFrameMkLst>
            <pc:docMk/>
            <pc:sldMk cId="4233881779" sldId="1603"/>
            <ac:graphicFrameMk id="6" creationId="{46D5AE13-5E29-4E23-A018-44CD309FC5E8}"/>
          </ac:graphicFrameMkLst>
        </pc:graphicFrameChg>
      </pc:sldChg>
      <pc:sldChg chg="modSp">
        <pc:chgData name="Sam Mesel" userId="1ee7badb-5d1f-4872-89ae-dcf7b71f276a" providerId="ADAL" clId="{3A834B92-C854-41EB-B78E-15B3B7E41581}" dt="2020-03-18T18:58:35.378" v="1044" actId="12"/>
        <pc:sldMkLst>
          <pc:docMk/>
          <pc:sldMk cId="3027599026" sldId="1605"/>
        </pc:sldMkLst>
        <pc:graphicFrameChg chg="mod">
          <ac:chgData name="Sam Mesel" userId="1ee7badb-5d1f-4872-89ae-dcf7b71f276a" providerId="ADAL" clId="{3A834B92-C854-41EB-B78E-15B3B7E41581}" dt="2020-03-18T18:58:35.378" v="1044" actId="12"/>
          <ac:graphicFrameMkLst>
            <pc:docMk/>
            <pc:sldMk cId="3027599026" sldId="1605"/>
            <ac:graphicFrameMk id="8" creationId="{1267059D-2394-456A-8A5B-99E75FF8D9D4}"/>
          </ac:graphicFrameMkLst>
        </pc:graphicFrameChg>
      </pc:sldChg>
      <pc:sldChg chg="modSp mod">
        <pc:chgData name="Sam Mesel" userId="1ee7badb-5d1f-4872-89ae-dcf7b71f276a" providerId="ADAL" clId="{3A834B92-C854-41EB-B78E-15B3B7E41581}" dt="2020-03-18T18:03:48.480" v="692" actId="20577"/>
        <pc:sldMkLst>
          <pc:docMk/>
          <pc:sldMk cId="40536582" sldId="1609"/>
        </pc:sldMkLst>
        <pc:spChg chg="mod">
          <ac:chgData name="Sam Mesel" userId="1ee7badb-5d1f-4872-89ae-dcf7b71f276a" providerId="ADAL" clId="{3A834B92-C854-41EB-B78E-15B3B7E41581}" dt="2020-03-18T18:03:24.386" v="683" actId="20577"/>
          <ac:spMkLst>
            <pc:docMk/>
            <pc:sldMk cId="40536582" sldId="1609"/>
            <ac:spMk id="3" creationId="{F35E8CBB-5A7D-4DEF-BAF7-8DD5D042F9E0}"/>
          </ac:spMkLst>
        </pc:spChg>
        <pc:graphicFrameChg chg="mod">
          <ac:chgData name="Sam Mesel" userId="1ee7badb-5d1f-4872-89ae-dcf7b71f276a" providerId="ADAL" clId="{3A834B92-C854-41EB-B78E-15B3B7E41581}" dt="2020-03-18T18:03:48.480" v="692" actId="20577"/>
          <ac:graphicFrameMkLst>
            <pc:docMk/>
            <pc:sldMk cId="40536582" sldId="1609"/>
            <ac:graphicFrameMk id="6" creationId="{F7F91E82-7A30-446A-9AA4-56B6B8FA1E48}"/>
          </ac:graphicFrameMkLst>
        </pc:graphicFrameChg>
      </pc:sldChg>
      <pc:sldChg chg="modSp mod">
        <pc:chgData name="Sam Mesel" userId="1ee7badb-5d1f-4872-89ae-dcf7b71f276a" providerId="ADAL" clId="{3A834B92-C854-41EB-B78E-15B3B7E41581}" dt="2020-03-18T19:01:30.246" v="1086" actId="20577"/>
        <pc:sldMkLst>
          <pc:docMk/>
          <pc:sldMk cId="3677067881" sldId="1610"/>
        </pc:sldMkLst>
        <pc:spChg chg="mod">
          <ac:chgData name="Sam Mesel" userId="1ee7badb-5d1f-4872-89ae-dcf7b71f276a" providerId="ADAL" clId="{3A834B92-C854-41EB-B78E-15B3B7E41581}" dt="2020-03-18T19:01:30.246" v="1086" actId="20577"/>
          <ac:spMkLst>
            <pc:docMk/>
            <pc:sldMk cId="3677067881" sldId="1610"/>
            <ac:spMk id="2" creationId="{EB67312A-9819-43C6-8D84-D9136E6CFFCC}"/>
          </ac:spMkLst>
        </pc:spChg>
        <pc:spChg chg="mod">
          <ac:chgData name="Sam Mesel" userId="1ee7badb-5d1f-4872-89ae-dcf7b71f276a" providerId="ADAL" clId="{3A834B92-C854-41EB-B78E-15B3B7E41581}" dt="2020-03-18T18:59:12.946" v="1049" actId="1076"/>
          <ac:spMkLst>
            <pc:docMk/>
            <pc:sldMk cId="3677067881" sldId="1610"/>
            <ac:spMk id="13" creationId="{D1DA6AD0-32F7-4C6F-860C-7E7F9CF827D3}"/>
          </ac:spMkLst>
        </pc:spChg>
        <pc:graphicFrameChg chg="mod">
          <ac:chgData name="Sam Mesel" userId="1ee7badb-5d1f-4872-89ae-dcf7b71f276a" providerId="ADAL" clId="{3A834B92-C854-41EB-B78E-15B3B7E41581}" dt="2020-03-18T19:00:46.693" v="1085" actId="20577"/>
          <ac:graphicFrameMkLst>
            <pc:docMk/>
            <pc:sldMk cId="3677067881" sldId="1610"/>
            <ac:graphicFrameMk id="6" creationId="{7CA6B8BE-95D4-4114-B614-11B0406EF2D4}"/>
          </ac:graphicFrameMkLst>
        </pc:graphicFrameChg>
        <pc:picChg chg="mod">
          <ac:chgData name="Sam Mesel" userId="1ee7badb-5d1f-4872-89ae-dcf7b71f276a" providerId="ADAL" clId="{3A834B92-C854-41EB-B78E-15B3B7E41581}" dt="2020-03-18T18:59:29.348" v="1052" actId="1076"/>
          <ac:picMkLst>
            <pc:docMk/>
            <pc:sldMk cId="3677067881" sldId="1610"/>
            <ac:picMk id="14" creationId="{3FD83BA9-2541-484A-94F9-FF7F48A084FE}"/>
          </ac:picMkLst>
        </pc:picChg>
        <pc:picChg chg="mod">
          <ac:chgData name="Sam Mesel" userId="1ee7badb-5d1f-4872-89ae-dcf7b71f276a" providerId="ADAL" clId="{3A834B92-C854-41EB-B78E-15B3B7E41581}" dt="2020-03-18T18:59:29.802" v="1053" actId="1076"/>
          <ac:picMkLst>
            <pc:docMk/>
            <pc:sldMk cId="3677067881" sldId="1610"/>
            <ac:picMk id="15" creationId="{0010547F-9C14-40FB-B704-CB5BCC90E44B}"/>
          </ac:picMkLst>
        </pc:picChg>
      </pc:sldChg>
      <pc:sldChg chg="add del">
        <pc:chgData name="Sam Mesel" userId="1ee7badb-5d1f-4872-89ae-dcf7b71f276a" providerId="ADAL" clId="{3A834B92-C854-41EB-B78E-15B3B7E41581}" dt="2020-03-06T23:34:06.235" v="9"/>
        <pc:sldMkLst>
          <pc:docMk/>
          <pc:sldMk cId="718092808" sldId="161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47200025-BB23-4226-B24A-2B5170DEF870}">
      <dgm:prSet custT="1"/>
      <dgm:spPr/>
      <dgm:t>
        <a:bodyPr/>
        <a:lstStyle/>
        <a:p>
          <a:r>
            <a:rPr lang="en-US" sz="2400" baseline="0" dirty="0"/>
            <a:t>A transaction is a sequence of steps that perform a logical unit of work.</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Must Exhibit ACID properties, to qualify as a transaction.</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2">
        <dgm:presLayoutVars>
          <dgm:chMax val="0"/>
          <dgm:bulletEnabled val="1"/>
        </dgm:presLayoutVars>
      </dgm:prSet>
      <dgm:spPr/>
    </dgm:pt>
    <dgm:pt modelId="{DB38960B-A9C1-42BC-A713-61279625D92D}" type="pres">
      <dgm:prSet presAssocID="{88E11445-7EF3-4E18-9957-41A83F7D3382}" presName="spacer" presStyleCnt="0"/>
      <dgm:spPr/>
    </dgm:pt>
    <dgm:pt modelId="{264F40D0-A7D0-460C-8850-834FB3F3E3EF}" type="pres">
      <dgm:prSet presAssocID="{DE1D5CD6-00C5-49A7-BFF0-8A453C6730CA}" presName="parentText" presStyleLbl="node1" presStyleIdx="1" presStyleCnt="2">
        <dgm:presLayoutVars>
          <dgm:chMax val="0"/>
          <dgm:bulletEnabled val="1"/>
        </dgm:presLayoutVars>
      </dgm:prSet>
      <dgm:spPr/>
    </dgm:pt>
  </dgm:ptLst>
  <dgm:cxnLst>
    <dgm:cxn modelId="{58328F0B-5D4F-4B72-AC2D-37F410C35FDF}" type="presOf" srcId="{DE1D5CD6-00C5-49A7-BFF0-8A453C6730CA}" destId="{264F40D0-A7D0-460C-8850-834FB3F3E3EF}" srcOrd="0" destOrd="0" presId="urn:microsoft.com/office/officeart/2005/8/layout/vList2"/>
    <dgm:cxn modelId="{B6D58420-14FD-4A49-B597-F584BA704268}" srcId="{09AE437C-A81D-494D-A17B-2B7A1C13852C}" destId="{47200025-BB23-4226-B24A-2B5170DEF870}" srcOrd="0" destOrd="0" parTransId="{501BEC7C-9942-4DFE-95D9-29F35421B402}" sibTransId="{88E11445-7EF3-4E18-9957-41A83F7D3382}"/>
    <dgm:cxn modelId="{5F9DB623-7F03-4375-B7A5-690F9182BAA3}" type="presOf" srcId="{47200025-BB23-4226-B24A-2B5170DEF870}" destId="{A8683608-1B6C-4154-BA20-3434A42D2C9A}" srcOrd="0" destOrd="0" presId="urn:microsoft.com/office/officeart/2005/8/layout/vList2"/>
    <dgm:cxn modelId="{CE2BDB39-01B8-45AB-BD17-3C5C86AB34A9}" srcId="{09AE437C-A81D-494D-A17B-2B7A1C13852C}" destId="{DE1D5CD6-00C5-49A7-BFF0-8A453C6730CA}" srcOrd="1" destOrd="0" parTransId="{FFBA20C8-989E-4089-B7E2-1FBCE8D93BAC}" sibTransId="{C4C1D5C4-27DC-476F-B399-6A6ECF3AEE81}"/>
    <dgm:cxn modelId="{1E3DACC2-DB90-43E5-9438-763FF757B037}" type="presOf" srcId="{09AE437C-A81D-494D-A17B-2B7A1C13852C}" destId="{DA4F93E4-A389-444F-BFCB-B6F03A9D4C16}" srcOrd="0" destOrd="0" presId="urn:microsoft.com/office/officeart/2005/8/layout/vList2"/>
    <dgm:cxn modelId="{402E69A2-E7B2-406E-9679-267C2878703E}" type="presParOf" srcId="{DA4F93E4-A389-444F-BFCB-B6F03A9D4C16}" destId="{A8683608-1B6C-4154-BA20-3434A42D2C9A}" srcOrd="0" destOrd="0" presId="urn:microsoft.com/office/officeart/2005/8/layout/vList2"/>
    <dgm:cxn modelId="{0AEC86B8-8DD1-4831-9F3E-4CCCE68633FF}" type="presParOf" srcId="{DA4F93E4-A389-444F-BFCB-B6F03A9D4C16}" destId="{DB38960B-A9C1-42BC-A713-61279625D92D}" srcOrd="1" destOrd="0" presId="urn:microsoft.com/office/officeart/2005/8/layout/vList2"/>
    <dgm:cxn modelId="{91DBCA4D-B752-4B04-B113-43B162CC6FAF}" type="presParOf" srcId="{DA4F93E4-A389-444F-BFCB-B6F03A9D4C16}" destId="{264F40D0-A7D0-460C-8850-834FB3F3E3EF}"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E57B519-6075-4A1C-AEC4-BD98B246028C}"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78B22B75-4A19-42C0-ADE4-254A014C38E0}">
      <dgm:prSet custT="1"/>
      <dgm:spPr/>
      <dgm:t>
        <a:bodyPr/>
        <a:lstStyle/>
        <a:p>
          <a:r>
            <a:rPr lang="en-US" sz="2400" baseline="0" dirty="0"/>
            <a:t>Support for  two concurrency models</a:t>
          </a:r>
          <a:endParaRPr lang="en-US" sz="2400" dirty="0"/>
        </a:p>
      </dgm:t>
    </dgm:pt>
    <dgm:pt modelId="{80570C62-51E5-4ABF-9561-584D95CD5DFE}" type="parTrans" cxnId="{B74C9D71-034A-490A-8C79-7F03EBEE7FFD}">
      <dgm:prSet/>
      <dgm:spPr/>
      <dgm:t>
        <a:bodyPr/>
        <a:lstStyle/>
        <a:p>
          <a:endParaRPr lang="en-US"/>
        </a:p>
      </dgm:t>
    </dgm:pt>
    <dgm:pt modelId="{CA4AD4E4-5F26-4A5C-B259-F6832D969F44}" type="sibTrans" cxnId="{B74C9D71-034A-490A-8C79-7F03EBEE7FFD}">
      <dgm:prSet/>
      <dgm:spPr/>
      <dgm:t>
        <a:bodyPr/>
        <a:lstStyle/>
        <a:p>
          <a:endParaRPr lang="en-US"/>
        </a:p>
      </dgm:t>
    </dgm:pt>
    <dgm:pt modelId="{490BA3E6-07A1-4E7C-9DDC-584CB907D10C}">
      <dgm:prSet custT="1"/>
      <dgm:spPr/>
      <dgm:t>
        <a:bodyPr/>
        <a:lstStyle/>
        <a:p>
          <a:r>
            <a:rPr lang="en-US" sz="2400" baseline="0" dirty="0"/>
            <a:t>Pessimistic concurrency</a:t>
          </a:r>
          <a:endParaRPr lang="en-US" sz="2400" dirty="0"/>
        </a:p>
      </dgm:t>
    </dgm:pt>
    <dgm:pt modelId="{F62392A4-7575-4F2D-9433-9F8B0C955B3A}" type="parTrans" cxnId="{71951058-C486-442A-9306-26AFDC72C1BF}">
      <dgm:prSet/>
      <dgm:spPr/>
      <dgm:t>
        <a:bodyPr/>
        <a:lstStyle/>
        <a:p>
          <a:endParaRPr lang="en-US"/>
        </a:p>
      </dgm:t>
    </dgm:pt>
    <dgm:pt modelId="{181D7A88-633C-453E-8DB4-2F5AA2C4E828}" type="sibTrans" cxnId="{71951058-C486-442A-9306-26AFDC72C1BF}">
      <dgm:prSet/>
      <dgm:spPr/>
      <dgm:t>
        <a:bodyPr/>
        <a:lstStyle/>
        <a:p>
          <a:endParaRPr lang="en-US"/>
        </a:p>
      </dgm:t>
    </dgm:pt>
    <dgm:pt modelId="{5363A941-80CF-4490-9471-79CF73858F7F}">
      <dgm:prSet custT="1"/>
      <dgm:spPr/>
      <dgm:t>
        <a:bodyPr/>
        <a:lstStyle/>
        <a:p>
          <a:r>
            <a:rPr lang="en-US" sz="2400" baseline="0" dirty="0"/>
            <a:t>This is the default concurrency model in SQL Server</a:t>
          </a:r>
          <a:endParaRPr lang="en-US" sz="2400" dirty="0"/>
        </a:p>
      </dgm:t>
    </dgm:pt>
    <dgm:pt modelId="{490E1743-AF84-49B6-A4CA-91B1D8477C1E}" type="parTrans" cxnId="{74595A94-83BA-4EDD-B463-DB209427CFF4}">
      <dgm:prSet/>
      <dgm:spPr/>
      <dgm:t>
        <a:bodyPr/>
        <a:lstStyle/>
        <a:p>
          <a:endParaRPr lang="en-US"/>
        </a:p>
      </dgm:t>
    </dgm:pt>
    <dgm:pt modelId="{66C996F4-28A0-4189-A1E8-42270A7A7CE3}" type="sibTrans" cxnId="{74595A94-83BA-4EDD-B463-DB209427CFF4}">
      <dgm:prSet/>
      <dgm:spPr/>
      <dgm:t>
        <a:bodyPr/>
        <a:lstStyle/>
        <a:p>
          <a:endParaRPr lang="en-US"/>
        </a:p>
      </dgm:t>
    </dgm:pt>
    <dgm:pt modelId="{3DC195AD-752E-4BE7-B234-BEA144E8F85A}">
      <dgm:prSet custT="1"/>
      <dgm:spPr/>
      <dgm:t>
        <a:bodyPr/>
        <a:lstStyle/>
        <a:p>
          <a:r>
            <a:rPr lang="en-US" sz="2400" baseline="0" dirty="0"/>
            <a:t>Uses locks to avoid concurrency problems</a:t>
          </a:r>
          <a:endParaRPr lang="en-US" sz="2400" dirty="0"/>
        </a:p>
      </dgm:t>
    </dgm:pt>
    <dgm:pt modelId="{00D2D275-0503-4F17-A2B9-8D44DBB0E7E7}" type="parTrans" cxnId="{A5EEA261-B95E-4493-811F-F419F8A1A47C}">
      <dgm:prSet/>
      <dgm:spPr/>
      <dgm:t>
        <a:bodyPr/>
        <a:lstStyle/>
        <a:p>
          <a:endParaRPr lang="en-US"/>
        </a:p>
      </dgm:t>
    </dgm:pt>
    <dgm:pt modelId="{EA0A3467-A492-4343-9055-F42F53EC04F5}" type="sibTrans" cxnId="{A5EEA261-B95E-4493-811F-F419F8A1A47C}">
      <dgm:prSet/>
      <dgm:spPr/>
      <dgm:t>
        <a:bodyPr/>
        <a:lstStyle/>
        <a:p>
          <a:endParaRPr lang="en-US"/>
        </a:p>
      </dgm:t>
    </dgm:pt>
    <dgm:pt modelId="{19B26356-DB59-4DD8-A21F-E3B857F79ABF}">
      <dgm:prSet custT="1"/>
      <dgm:spPr/>
      <dgm:t>
        <a:bodyPr/>
        <a:lstStyle/>
        <a:p>
          <a:r>
            <a:rPr lang="en-US" sz="2400" baseline="0" dirty="0"/>
            <a:t>Optimistic concurrency</a:t>
          </a:r>
          <a:endParaRPr lang="en-US" sz="2400" dirty="0"/>
        </a:p>
      </dgm:t>
    </dgm:pt>
    <dgm:pt modelId="{73CEF96E-4840-4F8A-8353-1530AFFF5EE6}" type="parTrans" cxnId="{E1A47BCC-40C3-4382-A0C6-4985F454D63C}">
      <dgm:prSet/>
      <dgm:spPr/>
      <dgm:t>
        <a:bodyPr/>
        <a:lstStyle/>
        <a:p>
          <a:endParaRPr lang="en-US"/>
        </a:p>
      </dgm:t>
    </dgm:pt>
    <dgm:pt modelId="{85191993-CDDD-4744-8B30-9B28AC97F22D}" type="sibTrans" cxnId="{E1A47BCC-40C3-4382-A0C6-4985F454D63C}">
      <dgm:prSet/>
      <dgm:spPr/>
      <dgm:t>
        <a:bodyPr/>
        <a:lstStyle/>
        <a:p>
          <a:endParaRPr lang="en-US"/>
        </a:p>
      </dgm:t>
    </dgm:pt>
    <dgm:pt modelId="{93F93A64-6100-49AE-8A38-7FE6B9A98F46}">
      <dgm:prSet custT="1"/>
      <dgm:spPr/>
      <dgm:t>
        <a:bodyPr/>
        <a:lstStyle/>
        <a:p>
          <a:r>
            <a:rPr lang="en-US" sz="2400" baseline="0" dirty="0"/>
            <a:t>Uses row versions to support concurrency</a:t>
          </a:r>
          <a:endParaRPr lang="en-US" sz="2400" dirty="0"/>
        </a:p>
      </dgm:t>
    </dgm:pt>
    <dgm:pt modelId="{AF483BD0-9DA6-40C4-825C-C6421356F779}" type="parTrans" cxnId="{A781A62B-FA11-4A6F-8D62-B59C9E04B2CD}">
      <dgm:prSet/>
      <dgm:spPr/>
      <dgm:t>
        <a:bodyPr/>
        <a:lstStyle/>
        <a:p>
          <a:endParaRPr lang="en-US"/>
        </a:p>
      </dgm:t>
    </dgm:pt>
    <dgm:pt modelId="{DB4EEE82-DF35-40DD-AF58-83168CEC8068}" type="sibTrans" cxnId="{A781A62B-FA11-4A6F-8D62-B59C9E04B2CD}">
      <dgm:prSet/>
      <dgm:spPr/>
      <dgm:t>
        <a:bodyPr/>
        <a:lstStyle/>
        <a:p>
          <a:endParaRPr lang="en-US"/>
        </a:p>
      </dgm:t>
    </dgm:pt>
    <dgm:pt modelId="{EBA5EE09-F567-4A51-865E-5C80152FCE57}" type="pres">
      <dgm:prSet presAssocID="{0E57B519-6075-4A1C-AEC4-BD98B246028C}" presName="Name0" presStyleCnt="0">
        <dgm:presLayoutVars>
          <dgm:dir/>
          <dgm:animLvl val="lvl"/>
          <dgm:resizeHandles val="exact"/>
        </dgm:presLayoutVars>
      </dgm:prSet>
      <dgm:spPr/>
    </dgm:pt>
    <dgm:pt modelId="{02C6201F-B9F2-45D5-9F22-B9D1E8FC06F8}" type="pres">
      <dgm:prSet presAssocID="{78B22B75-4A19-42C0-ADE4-254A014C38E0}" presName="linNode" presStyleCnt="0"/>
      <dgm:spPr/>
    </dgm:pt>
    <dgm:pt modelId="{3498B1E1-3987-4819-AB5F-60DA57A10CC0}" type="pres">
      <dgm:prSet presAssocID="{78B22B75-4A19-42C0-ADE4-254A014C38E0}" presName="parentText" presStyleLbl="node1" presStyleIdx="0" presStyleCnt="1">
        <dgm:presLayoutVars>
          <dgm:chMax val="1"/>
          <dgm:bulletEnabled val="1"/>
        </dgm:presLayoutVars>
      </dgm:prSet>
      <dgm:spPr/>
    </dgm:pt>
    <dgm:pt modelId="{9C39E001-EF04-4441-A590-BA4F7098EEE9}" type="pres">
      <dgm:prSet presAssocID="{78B22B75-4A19-42C0-ADE4-254A014C38E0}" presName="descendantText" presStyleLbl="alignAccFollowNode1" presStyleIdx="0" presStyleCnt="1">
        <dgm:presLayoutVars>
          <dgm:bulletEnabled val="1"/>
        </dgm:presLayoutVars>
      </dgm:prSet>
      <dgm:spPr/>
    </dgm:pt>
  </dgm:ptLst>
  <dgm:cxnLst>
    <dgm:cxn modelId="{A2505A12-A84A-4BA7-BDF6-316FA4127D07}" type="presOf" srcId="{93F93A64-6100-49AE-8A38-7FE6B9A98F46}" destId="{9C39E001-EF04-4441-A590-BA4F7098EEE9}" srcOrd="0" destOrd="4" presId="urn:microsoft.com/office/officeart/2005/8/layout/vList5"/>
    <dgm:cxn modelId="{6C818B16-53F1-40E1-8C2A-16E25706DC57}" type="presOf" srcId="{78B22B75-4A19-42C0-ADE4-254A014C38E0}" destId="{3498B1E1-3987-4819-AB5F-60DA57A10CC0}" srcOrd="0" destOrd="0" presId="urn:microsoft.com/office/officeart/2005/8/layout/vList5"/>
    <dgm:cxn modelId="{A6B61F25-E65B-4464-82A9-6FADE44FFBC8}" type="presOf" srcId="{19B26356-DB59-4DD8-A21F-E3B857F79ABF}" destId="{9C39E001-EF04-4441-A590-BA4F7098EEE9}" srcOrd="0" destOrd="3" presId="urn:microsoft.com/office/officeart/2005/8/layout/vList5"/>
    <dgm:cxn modelId="{A781A62B-FA11-4A6F-8D62-B59C9E04B2CD}" srcId="{19B26356-DB59-4DD8-A21F-E3B857F79ABF}" destId="{93F93A64-6100-49AE-8A38-7FE6B9A98F46}" srcOrd="0" destOrd="0" parTransId="{AF483BD0-9DA6-40C4-825C-C6421356F779}" sibTransId="{DB4EEE82-DF35-40DD-AF58-83168CEC8068}"/>
    <dgm:cxn modelId="{A5EEA261-B95E-4493-811F-F419F8A1A47C}" srcId="{490BA3E6-07A1-4E7C-9DDC-584CB907D10C}" destId="{3DC195AD-752E-4BE7-B234-BEA144E8F85A}" srcOrd="1" destOrd="0" parTransId="{00D2D275-0503-4F17-A2B9-8D44DBB0E7E7}" sibTransId="{EA0A3467-A492-4343-9055-F42F53EC04F5}"/>
    <dgm:cxn modelId="{B74C9D71-034A-490A-8C79-7F03EBEE7FFD}" srcId="{0E57B519-6075-4A1C-AEC4-BD98B246028C}" destId="{78B22B75-4A19-42C0-ADE4-254A014C38E0}" srcOrd="0" destOrd="0" parTransId="{80570C62-51E5-4ABF-9561-584D95CD5DFE}" sibTransId="{CA4AD4E4-5F26-4A5C-B259-F6832D969F44}"/>
    <dgm:cxn modelId="{71951058-C486-442A-9306-26AFDC72C1BF}" srcId="{78B22B75-4A19-42C0-ADE4-254A014C38E0}" destId="{490BA3E6-07A1-4E7C-9DDC-584CB907D10C}" srcOrd="0" destOrd="0" parTransId="{F62392A4-7575-4F2D-9433-9F8B0C955B3A}" sibTransId="{181D7A88-633C-453E-8DB4-2F5AA2C4E828}"/>
    <dgm:cxn modelId="{927ABE7D-D7DE-47CF-BC50-C5FC24593352}" type="presOf" srcId="{0E57B519-6075-4A1C-AEC4-BD98B246028C}" destId="{EBA5EE09-F567-4A51-865E-5C80152FCE57}" srcOrd="0" destOrd="0" presId="urn:microsoft.com/office/officeart/2005/8/layout/vList5"/>
    <dgm:cxn modelId="{74595A94-83BA-4EDD-B463-DB209427CFF4}" srcId="{490BA3E6-07A1-4E7C-9DDC-584CB907D10C}" destId="{5363A941-80CF-4490-9471-79CF73858F7F}" srcOrd="0" destOrd="0" parTransId="{490E1743-AF84-49B6-A4CA-91B1D8477C1E}" sibTransId="{66C996F4-28A0-4189-A1E8-42270A7A7CE3}"/>
    <dgm:cxn modelId="{692A43B6-60E3-4BE7-A1C1-0B81A1C68EE8}" type="presOf" srcId="{490BA3E6-07A1-4E7C-9DDC-584CB907D10C}" destId="{9C39E001-EF04-4441-A590-BA4F7098EEE9}" srcOrd="0" destOrd="0" presId="urn:microsoft.com/office/officeart/2005/8/layout/vList5"/>
    <dgm:cxn modelId="{4BCCCBBB-71FC-468D-AC76-AB3316FC4F7E}" type="presOf" srcId="{5363A941-80CF-4490-9471-79CF73858F7F}" destId="{9C39E001-EF04-4441-A590-BA4F7098EEE9}" srcOrd="0" destOrd="1" presId="urn:microsoft.com/office/officeart/2005/8/layout/vList5"/>
    <dgm:cxn modelId="{E1A47BCC-40C3-4382-A0C6-4985F454D63C}" srcId="{78B22B75-4A19-42C0-ADE4-254A014C38E0}" destId="{19B26356-DB59-4DD8-A21F-E3B857F79ABF}" srcOrd="1" destOrd="0" parTransId="{73CEF96E-4840-4F8A-8353-1530AFFF5EE6}" sibTransId="{85191993-CDDD-4744-8B30-9B28AC97F22D}"/>
    <dgm:cxn modelId="{EE2AA2F2-35A1-40DA-9499-56A0E4D81C63}" type="presOf" srcId="{3DC195AD-752E-4BE7-B234-BEA144E8F85A}" destId="{9C39E001-EF04-4441-A590-BA4F7098EEE9}" srcOrd="0" destOrd="2" presId="urn:microsoft.com/office/officeart/2005/8/layout/vList5"/>
    <dgm:cxn modelId="{34C774F5-51AE-49F9-AE2E-917F072BF1CF}" type="presParOf" srcId="{EBA5EE09-F567-4A51-865E-5C80152FCE57}" destId="{02C6201F-B9F2-45D5-9F22-B9D1E8FC06F8}" srcOrd="0" destOrd="0" presId="urn:microsoft.com/office/officeart/2005/8/layout/vList5"/>
    <dgm:cxn modelId="{3477BCBB-F196-4EAB-A439-8A625292E80E}" type="presParOf" srcId="{02C6201F-B9F2-45D5-9F22-B9D1E8FC06F8}" destId="{3498B1E1-3987-4819-AB5F-60DA57A10CC0}" srcOrd="0" destOrd="0" presId="urn:microsoft.com/office/officeart/2005/8/layout/vList5"/>
    <dgm:cxn modelId="{FF928634-D326-4759-9E20-656E0277010D}" type="presParOf" srcId="{02C6201F-B9F2-45D5-9F22-B9D1E8FC06F8}" destId="{9C39E001-EF04-4441-A590-BA4F7098EE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isolation level?</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C9B570C0-6B7B-4EE4-A17B-6BCF647F8FE6}">
      <dgm:prSet custT="1"/>
      <dgm:spPr/>
      <dgm:t>
        <a:bodyPr/>
        <a:lstStyle/>
        <a:p>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gm:t>
    </dgm:pt>
    <dgm:pt modelId="{0F973070-7570-4022-BB79-A2988AF4724D}" type="parTrans" cxnId="{E7A5A81B-6038-4530-8AC3-984A69EF07DE}">
      <dgm:prSet/>
      <dgm:spPr/>
    </dgm:pt>
    <dgm:pt modelId="{4DE8C0CD-CA38-44E4-8DD3-58F2E71E7737}" type="sibTrans" cxnId="{E7A5A81B-6038-4530-8AC3-984A69EF07DE}">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3">
        <dgm:presLayoutVars>
          <dgm:chMax val="0"/>
          <dgm:bulletEnabled val="1"/>
        </dgm:presLayoutVars>
      </dgm:prSet>
      <dgm:spPr/>
    </dgm:pt>
    <dgm:pt modelId="{A062A3BC-EDA8-4050-8D63-46C383F9C8DF}" type="pres">
      <dgm:prSet presAssocID="{3FBAB6A2-0607-4274-9C0A-0E5D7E46D320}" presName="spacer" presStyleCnt="0"/>
      <dgm:spPr/>
    </dgm:pt>
    <dgm:pt modelId="{7223E95E-2C59-4685-B725-F9F0CE73B562}" type="pres">
      <dgm:prSet presAssocID="{C9B570C0-6B7B-4EE4-A17B-6BCF647F8FE6}"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E7A5A81B-6038-4530-8AC3-984A69EF07DE}" srcId="{15A7774C-B622-4F48-8F7B-AF1AAB74E997}" destId="{C9B570C0-6B7B-4EE4-A17B-6BCF647F8FE6}" srcOrd="2" destOrd="0" parTransId="{0F973070-7570-4022-BB79-A2988AF4724D}" sibTransId="{4DE8C0CD-CA38-44E4-8DD3-58F2E71E7737}"/>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84EB54DA-8517-41D7-8383-0B41F719A86C}" type="presOf" srcId="{C9B570C0-6B7B-4EE4-A17B-6BCF647F8FE6}" destId="{7223E95E-2C59-4685-B725-F9F0CE73B56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DAA2FE53-DA82-41E2-BF7D-A5239EB275AF}" type="presParOf" srcId="{97400BD5-14CE-4761-8A6A-64BC46D23158}" destId="{A062A3BC-EDA8-4050-8D63-46C383F9C8DF}" srcOrd="3" destOrd="0" presId="urn:microsoft.com/office/officeart/2005/8/layout/vList2"/>
    <dgm:cxn modelId="{831E2708-AF5A-43A3-82D4-AFCCC47B5C22}" type="presParOf" srcId="{97400BD5-14CE-4761-8A6A-64BC46D23158}" destId="{7223E95E-2C59-4685-B725-F9F0CE73B562}"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7596F09-28EB-447E-9540-5AF2013743D0}"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6CDED937-79B4-4F80-A5DB-4F9325911C2F}">
      <dgm:prSet custT="1"/>
      <dgm:spPr/>
      <dgm:t>
        <a:bodyPr/>
        <a:lstStyle/>
        <a:p>
          <a:r>
            <a:rPr lang="en-US" sz="2000" kern="1200" baseline="0">
              <a:latin typeface="+mn-lt"/>
              <a:ea typeface="+mn-ea"/>
              <a:cs typeface="+mn-cs"/>
            </a:rPr>
            <a:t>SQL Server </a:t>
          </a:r>
          <a:r>
            <a:rPr lang="en-US" sz="2000" kern="1200" baseline="0">
              <a:latin typeface="+mn-lt"/>
            </a:rPr>
            <a:t>uses intent locks to protect parent-level object in the hierarchy by placing an intent shared (IS) or Intent exclusive (IX) lock.</a:t>
          </a:r>
          <a:endParaRPr lang="en-US" sz="2000" kern="1200" dirty="0">
            <a:latin typeface="+mn-lt"/>
          </a:endParaRPr>
        </a:p>
      </dgm:t>
    </dgm:pt>
    <dgm:pt modelId="{9B102705-6C00-44D9-AC67-A66B88958CE1}" type="parTrans" cxnId="{6DD33617-6131-4532-B6C1-E4328B5F53E0}">
      <dgm:prSet/>
      <dgm:spPr/>
      <dgm:t>
        <a:bodyPr/>
        <a:lstStyle/>
        <a:p>
          <a:endParaRPr lang="en-US"/>
        </a:p>
      </dgm:t>
    </dgm:pt>
    <dgm:pt modelId="{E0BC7BFA-BA01-4189-B62E-00A57751865A}" type="sibTrans" cxnId="{6DD33617-6131-4532-B6C1-E4328B5F53E0}">
      <dgm:prSet/>
      <dgm:spPr/>
      <dgm:t>
        <a:bodyPr/>
        <a:lstStyle/>
        <a:p>
          <a:endParaRPr lang="en-US"/>
        </a:p>
      </dgm:t>
    </dgm:pt>
    <dgm:pt modelId="{A5375435-8821-4F7C-8479-E9507F579197}">
      <dgm:prSet custT="1"/>
      <dgm:spPr/>
      <dgm:t>
        <a:bodyPr/>
        <a:lstStyle/>
        <a:p>
          <a:r>
            <a:rPr lang="en-US" sz="2000" baseline="0" dirty="0">
              <a:latin typeface="+mn-lt"/>
            </a:rPr>
            <a:t>Intent locks are acquired before a lock placed at the lower level.</a:t>
          </a:r>
          <a:endParaRPr lang="en-US" sz="2000" dirty="0">
            <a:latin typeface="+mn-lt"/>
          </a:endParaRPr>
        </a:p>
      </dgm:t>
    </dgm:pt>
    <dgm:pt modelId="{39270B2D-89C2-4FF9-84A6-BC32B43A3195}" type="parTrans" cxnId="{242F9AD7-4F6E-49D6-A3B8-90CCC6312D8B}">
      <dgm:prSet/>
      <dgm:spPr/>
      <dgm:t>
        <a:bodyPr/>
        <a:lstStyle/>
        <a:p>
          <a:endParaRPr lang="en-US"/>
        </a:p>
      </dgm:t>
    </dgm:pt>
    <dgm:pt modelId="{8B86C71B-ADCA-4440-8AED-36E16C82E69D}" type="sibTrans" cxnId="{242F9AD7-4F6E-49D6-A3B8-90CCC6312D8B}">
      <dgm:prSet/>
      <dgm:spPr/>
      <dgm:t>
        <a:bodyPr/>
        <a:lstStyle/>
        <a:p>
          <a:endParaRPr lang="en-US"/>
        </a:p>
      </dgm:t>
    </dgm:pt>
    <dgm:pt modelId="{69BFE2BD-6359-4D95-9B91-749400E4135C}">
      <dgm:prSet custT="1"/>
      <dgm:spPr/>
      <dgm:t>
        <a:bodyPr/>
        <a:lstStyle/>
        <a:p>
          <a:r>
            <a:rPr lang="en-US" sz="2000" baseline="0" dirty="0">
              <a:latin typeface="+mn-lt"/>
            </a:rPr>
            <a:t>Intent locks serve two purposes:</a:t>
          </a:r>
          <a:endParaRPr lang="en-US" sz="2000" dirty="0">
            <a:latin typeface="+mn-lt"/>
          </a:endParaRPr>
        </a:p>
      </dgm:t>
    </dgm:pt>
    <dgm:pt modelId="{9F1359E9-E69F-44C2-8E62-15D6DF6C05A0}" type="parTrans" cxnId="{EBB28209-0395-4AF6-85D9-E71E31371FB6}">
      <dgm:prSet/>
      <dgm:spPr/>
      <dgm:t>
        <a:bodyPr/>
        <a:lstStyle/>
        <a:p>
          <a:endParaRPr lang="en-US"/>
        </a:p>
      </dgm:t>
    </dgm:pt>
    <dgm:pt modelId="{AD412F9B-8862-436C-BDAE-DC27A102830D}" type="sibTrans" cxnId="{EBB28209-0395-4AF6-85D9-E71E31371FB6}">
      <dgm:prSet/>
      <dgm:spPr/>
      <dgm:t>
        <a:bodyPr/>
        <a:lstStyle/>
        <a:p>
          <a:endParaRPr lang="en-US"/>
        </a:p>
      </dgm:t>
    </dgm:pt>
    <dgm:pt modelId="{5EC46E3E-B784-4304-8D3B-3414BE04B421}">
      <dgm:prSet custT="1"/>
      <dgm:spPr/>
      <dgm:t>
        <a:bodyPr/>
        <a:lstStyle/>
        <a:p>
          <a:r>
            <a:rPr lang="en-US" sz="2400" baseline="0" dirty="0">
              <a:latin typeface="Segoe UI Light" panose="020B0502040204020203" pitchFamily="34" charset="0"/>
            </a:rPr>
            <a:t>Prevent other transactions from modifying parent-level object </a:t>
          </a:r>
          <a:endParaRPr lang="en-US" sz="2400" dirty="0">
            <a:latin typeface="Segoe UI Light" panose="020B0502040204020203" pitchFamily="34" charset="0"/>
          </a:endParaRPr>
        </a:p>
      </dgm:t>
    </dgm:pt>
    <dgm:pt modelId="{841C9FED-B50A-4739-9218-C31AC73790D9}" type="parTrans" cxnId="{7AEE7F4C-1052-4459-A5B8-35C41AF3DC84}">
      <dgm:prSet/>
      <dgm:spPr/>
      <dgm:t>
        <a:bodyPr/>
        <a:lstStyle/>
        <a:p>
          <a:endParaRPr lang="en-US"/>
        </a:p>
      </dgm:t>
    </dgm:pt>
    <dgm:pt modelId="{3B086FDB-4AE8-49FE-A6B6-2FD171B343D9}" type="sibTrans" cxnId="{7AEE7F4C-1052-4459-A5B8-35C41AF3DC84}">
      <dgm:prSet/>
      <dgm:spPr/>
      <dgm:t>
        <a:bodyPr/>
        <a:lstStyle/>
        <a:p>
          <a:endParaRPr lang="en-US"/>
        </a:p>
      </dgm:t>
    </dgm:pt>
    <dgm:pt modelId="{0002BCF3-5AC4-48EB-B712-EFB55BC353CB}">
      <dgm:prSet custT="1"/>
      <dgm:spPr/>
      <dgm:t>
        <a:bodyPr/>
        <a:lstStyle/>
        <a:p>
          <a:r>
            <a:rPr lang="en-US" sz="2400" baseline="0" dirty="0">
              <a:latin typeface="Segoe UI Light" panose="020B0502040204020203" pitchFamily="34" charset="0"/>
            </a:rPr>
            <a:t>Improve the efficiency of the SQL Server Database Engine </a:t>
          </a:r>
          <a:endParaRPr lang="en-US" sz="2400" dirty="0">
            <a:latin typeface="Segoe UI Light" panose="020B0502040204020203" pitchFamily="34" charset="0"/>
          </a:endParaRPr>
        </a:p>
      </dgm:t>
    </dgm:pt>
    <dgm:pt modelId="{5531FBD0-4B79-451C-BB43-B2165F1B140C}" type="parTrans" cxnId="{C524ACD1-DF96-4369-8443-E597BF763061}">
      <dgm:prSet/>
      <dgm:spPr/>
      <dgm:t>
        <a:bodyPr/>
        <a:lstStyle/>
        <a:p>
          <a:endParaRPr lang="en-US"/>
        </a:p>
      </dgm:t>
    </dgm:pt>
    <dgm:pt modelId="{FC0DEF9B-99E6-4994-86D0-229B64C12186}" type="sibTrans" cxnId="{C524ACD1-DF96-4369-8443-E597BF763061}">
      <dgm:prSet/>
      <dgm:spPr/>
      <dgm:t>
        <a:bodyPr/>
        <a:lstStyle/>
        <a:p>
          <a:endParaRPr lang="en-US"/>
        </a:p>
      </dgm:t>
    </dgm:pt>
    <dgm:pt modelId="{941CE884-FCE3-429F-A859-93DDEBE18715}" type="pres">
      <dgm:prSet presAssocID="{37596F09-28EB-447E-9540-5AF2013743D0}" presName="linear" presStyleCnt="0">
        <dgm:presLayoutVars>
          <dgm:animLvl val="lvl"/>
          <dgm:resizeHandles val="exact"/>
        </dgm:presLayoutVars>
      </dgm:prSet>
      <dgm:spPr/>
    </dgm:pt>
    <dgm:pt modelId="{22EC8C96-72E1-4846-8803-5D6F568C9E28}" type="pres">
      <dgm:prSet presAssocID="{6CDED937-79B4-4F80-A5DB-4F9325911C2F}" presName="parentText" presStyleLbl="node1" presStyleIdx="0" presStyleCnt="3">
        <dgm:presLayoutVars>
          <dgm:chMax val="0"/>
          <dgm:bulletEnabled val="1"/>
        </dgm:presLayoutVars>
      </dgm:prSet>
      <dgm:spPr/>
    </dgm:pt>
    <dgm:pt modelId="{3F61290A-35BC-44DE-97EE-B75F9AB58A7A}" type="pres">
      <dgm:prSet presAssocID="{E0BC7BFA-BA01-4189-B62E-00A57751865A}" presName="spacer" presStyleCnt="0"/>
      <dgm:spPr/>
    </dgm:pt>
    <dgm:pt modelId="{16833076-334A-4EC5-88C0-91D97767C4ED}" type="pres">
      <dgm:prSet presAssocID="{A5375435-8821-4F7C-8479-E9507F579197}" presName="parentText" presStyleLbl="node1" presStyleIdx="1" presStyleCnt="3">
        <dgm:presLayoutVars>
          <dgm:chMax val="0"/>
          <dgm:bulletEnabled val="1"/>
        </dgm:presLayoutVars>
      </dgm:prSet>
      <dgm:spPr/>
    </dgm:pt>
    <dgm:pt modelId="{453BA468-D2EC-4668-AF58-F6DD79C0EA58}" type="pres">
      <dgm:prSet presAssocID="{8B86C71B-ADCA-4440-8AED-36E16C82E69D}" presName="spacer" presStyleCnt="0"/>
      <dgm:spPr/>
    </dgm:pt>
    <dgm:pt modelId="{1B895508-F76C-4513-9FF5-F7E8433ACCED}" type="pres">
      <dgm:prSet presAssocID="{69BFE2BD-6359-4D95-9B91-749400E4135C}" presName="parentText" presStyleLbl="node1" presStyleIdx="2" presStyleCnt="3">
        <dgm:presLayoutVars>
          <dgm:chMax val="0"/>
          <dgm:bulletEnabled val="1"/>
        </dgm:presLayoutVars>
      </dgm:prSet>
      <dgm:spPr/>
    </dgm:pt>
    <dgm:pt modelId="{782DD4E8-7036-4ECA-90DD-1355A5ABC6D1}" type="pres">
      <dgm:prSet presAssocID="{69BFE2BD-6359-4D95-9B91-749400E4135C}" presName="childText" presStyleLbl="revTx" presStyleIdx="0" presStyleCnt="1" custLinFactNeighborX="-2425" custLinFactNeighborY="6092">
        <dgm:presLayoutVars>
          <dgm:bulletEnabled val="1"/>
        </dgm:presLayoutVars>
      </dgm:prSet>
      <dgm:spPr/>
    </dgm:pt>
  </dgm:ptLst>
  <dgm:cxnLst>
    <dgm:cxn modelId="{979E0701-65D9-4AC6-B00F-A43383B47A60}" type="presOf" srcId="{5EC46E3E-B784-4304-8D3B-3414BE04B421}" destId="{782DD4E8-7036-4ECA-90DD-1355A5ABC6D1}" srcOrd="0" destOrd="0" presId="urn:microsoft.com/office/officeart/2005/8/layout/vList2"/>
    <dgm:cxn modelId="{EBB28209-0395-4AF6-85D9-E71E31371FB6}" srcId="{37596F09-28EB-447E-9540-5AF2013743D0}" destId="{69BFE2BD-6359-4D95-9B91-749400E4135C}" srcOrd="2" destOrd="0" parTransId="{9F1359E9-E69F-44C2-8E62-15D6DF6C05A0}" sibTransId="{AD412F9B-8862-436C-BDAE-DC27A102830D}"/>
    <dgm:cxn modelId="{6DD33617-6131-4532-B6C1-E4328B5F53E0}" srcId="{37596F09-28EB-447E-9540-5AF2013743D0}" destId="{6CDED937-79B4-4F80-A5DB-4F9325911C2F}" srcOrd="0" destOrd="0" parTransId="{9B102705-6C00-44D9-AC67-A66B88958CE1}" sibTransId="{E0BC7BFA-BA01-4189-B62E-00A57751865A}"/>
    <dgm:cxn modelId="{8367343D-D482-4942-B0C7-45DFEB1913A3}" type="presOf" srcId="{0002BCF3-5AC4-48EB-B712-EFB55BC353CB}" destId="{782DD4E8-7036-4ECA-90DD-1355A5ABC6D1}" srcOrd="0" destOrd="1" presId="urn:microsoft.com/office/officeart/2005/8/layout/vList2"/>
    <dgm:cxn modelId="{94D18F63-EA3D-45F0-9EA0-D89300BB4C76}" type="presOf" srcId="{A5375435-8821-4F7C-8479-E9507F579197}" destId="{16833076-334A-4EC5-88C0-91D97767C4ED}" srcOrd="0" destOrd="0" presId="urn:microsoft.com/office/officeart/2005/8/layout/vList2"/>
    <dgm:cxn modelId="{7AEE7F4C-1052-4459-A5B8-35C41AF3DC84}" srcId="{69BFE2BD-6359-4D95-9B91-749400E4135C}" destId="{5EC46E3E-B784-4304-8D3B-3414BE04B421}" srcOrd="0" destOrd="0" parTransId="{841C9FED-B50A-4739-9218-C31AC73790D9}" sibTransId="{3B086FDB-4AE8-49FE-A6B6-2FD171B343D9}"/>
    <dgm:cxn modelId="{BB740586-7A80-43C1-BB14-96D4C283B0EE}" type="presOf" srcId="{69BFE2BD-6359-4D95-9B91-749400E4135C}" destId="{1B895508-F76C-4513-9FF5-F7E8433ACCED}" srcOrd="0" destOrd="0" presId="urn:microsoft.com/office/officeart/2005/8/layout/vList2"/>
    <dgm:cxn modelId="{A8F50DB7-8D5D-4C43-9E4C-3747DF1C5CB0}" type="presOf" srcId="{6CDED937-79B4-4F80-A5DB-4F9325911C2F}" destId="{22EC8C96-72E1-4846-8803-5D6F568C9E28}" srcOrd="0" destOrd="0" presId="urn:microsoft.com/office/officeart/2005/8/layout/vList2"/>
    <dgm:cxn modelId="{C7C12AC2-45A4-4A39-B7EC-DA569A841AAD}" type="presOf" srcId="{37596F09-28EB-447E-9540-5AF2013743D0}" destId="{941CE884-FCE3-429F-A859-93DDEBE18715}" srcOrd="0" destOrd="0" presId="urn:microsoft.com/office/officeart/2005/8/layout/vList2"/>
    <dgm:cxn modelId="{C524ACD1-DF96-4369-8443-E597BF763061}" srcId="{69BFE2BD-6359-4D95-9B91-749400E4135C}" destId="{0002BCF3-5AC4-48EB-B712-EFB55BC353CB}" srcOrd="1" destOrd="0" parTransId="{5531FBD0-4B79-451C-BB43-B2165F1B140C}" sibTransId="{FC0DEF9B-99E6-4994-86D0-229B64C12186}"/>
    <dgm:cxn modelId="{242F9AD7-4F6E-49D6-A3B8-90CCC6312D8B}" srcId="{37596F09-28EB-447E-9540-5AF2013743D0}" destId="{A5375435-8821-4F7C-8479-E9507F579197}" srcOrd="1" destOrd="0" parTransId="{39270B2D-89C2-4FF9-84A6-BC32B43A3195}" sibTransId="{8B86C71B-ADCA-4440-8AED-36E16C82E69D}"/>
    <dgm:cxn modelId="{BB5B954C-208F-4DEB-BE56-92F4C955E966}" type="presParOf" srcId="{941CE884-FCE3-429F-A859-93DDEBE18715}" destId="{22EC8C96-72E1-4846-8803-5D6F568C9E28}" srcOrd="0" destOrd="0" presId="urn:microsoft.com/office/officeart/2005/8/layout/vList2"/>
    <dgm:cxn modelId="{AEDFA3AD-8357-428A-841E-302FD0F7F81D}" type="presParOf" srcId="{941CE884-FCE3-429F-A859-93DDEBE18715}" destId="{3F61290A-35BC-44DE-97EE-B75F9AB58A7A}" srcOrd="1" destOrd="0" presId="urn:microsoft.com/office/officeart/2005/8/layout/vList2"/>
    <dgm:cxn modelId="{DA96387A-832A-440C-B4C6-9D3E0C56F041}" type="presParOf" srcId="{941CE884-FCE3-429F-A859-93DDEBE18715}" destId="{16833076-334A-4EC5-88C0-91D97767C4ED}" srcOrd="2" destOrd="0" presId="urn:microsoft.com/office/officeart/2005/8/layout/vList2"/>
    <dgm:cxn modelId="{D343BE88-B08C-4E1F-BF1C-B7753822028B}" type="presParOf" srcId="{941CE884-FCE3-429F-A859-93DDEBE18715}" destId="{453BA468-D2EC-4668-AF58-F6DD79C0EA58}" srcOrd="3" destOrd="0" presId="urn:microsoft.com/office/officeart/2005/8/layout/vList2"/>
    <dgm:cxn modelId="{0ECA7A49-1D4C-473E-8332-9E12A7D7C3BF}" type="presParOf" srcId="{941CE884-FCE3-429F-A859-93DDEBE18715}" destId="{1B895508-F76C-4513-9FF5-F7E8433ACCED}" srcOrd="4" destOrd="0" presId="urn:microsoft.com/office/officeart/2005/8/layout/vList2"/>
    <dgm:cxn modelId="{88166A68-1C40-4D2D-AEA2-19B51A9E2466}" type="presParOf" srcId="{941CE884-FCE3-429F-A859-93DDEBE18715}" destId="{782DD4E8-7036-4ECA-90DD-1355A5ABC6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CEDFF0-49C4-48C3-8C56-92E4D55DF4A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C60217E-A014-47E1-9BF6-E6815E5C2917}">
      <dgm:prSet/>
      <dgm:spPr/>
      <dgm:t>
        <a:bodyPr/>
        <a:lstStyle/>
        <a:p>
          <a:r>
            <a:rPr lang="en-US" baseline="0" dirty="0"/>
            <a:t>Row locking is not always the right choice</a:t>
          </a:r>
          <a:endParaRPr lang="en-US" dirty="0"/>
        </a:p>
      </dgm:t>
    </dgm:pt>
    <dgm:pt modelId="{C588DFD8-54AA-405D-A273-D2AB36062C8A}" type="parTrans" cxnId="{86166AD4-08AB-4602-9690-5D033B3B3020}">
      <dgm:prSet/>
      <dgm:spPr/>
      <dgm:t>
        <a:bodyPr/>
        <a:lstStyle/>
        <a:p>
          <a:endParaRPr lang="en-US"/>
        </a:p>
      </dgm:t>
    </dgm:pt>
    <dgm:pt modelId="{5106A7A1-365E-4EE8-A773-797432DB6A9F}" type="sibTrans" cxnId="{86166AD4-08AB-4602-9690-5D033B3B3020}">
      <dgm:prSet/>
      <dgm:spPr/>
      <dgm:t>
        <a:bodyPr/>
        <a:lstStyle/>
        <a:p>
          <a:endParaRPr lang="en-US"/>
        </a:p>
      </dgm:t>
    </dgm:pt>
    <dgm:pt modelId="{2E609BB5-2F60-4A89-B099-2A8969DBD31A}">
      <dgm:prSet/>
      <dgm:spPr/>
      <dgm:t>
        <a:bodyPr/>
        <a:lstStyle/>
        <a:p>
          <a:r>
            <a:rPr lang="en-US" baseline="0" dirty="0"/>
            <a:t>Scanning 100 million rows means 100 million calls to the lock manager</a:t>
          </a:r>
          <a:endParaRPr lang="en-US" dirty="0"/>
        </a:p>
      </dgm:t>
    </dgm:pt>
    <dgm:pt modelId="{B6F5B6CC-2FD1-483C-9B9B-5102A7145606}" type="parTrans" cxnId="{75D84858-7F1C-475C-B958-759953BCC148}">
      <dgm:prSet/>
      <dgm:spPr/>
      <dgm:t>
        <a:bodyPr/>
        <a:lstStyle/>
        <a:p>
          <a:endParaRPr lang="en-US"/>
        </a:p>
      </dgm:t>
    </dgm:pt>
    <dgm:pt modelId="{A4559B61-A25B-4179-9683-589DF810D4F5}" type="sibTrans" cxnId="{75D84858-7F1C-475C-B958-759953BCC148}">
      <dgm:prSet/>
      <dgm:spPr/>
      <dgm:t>
        <a:bodyPr/>
        <a:lstStyle/>
        <a:p>
          <a:endParaRPr lang="en-US"/>
        </a:p>
      </dgm:t>
    </dgm:pt>
    <dgm:pt modelId="{BE72DA3D-8B5D-4CB2-B7E3-1FDE90951D3C}">
      <dgm:prSet/>
      <dgm:spPr/>
      <dgm:t>
        <a:bodyPr/>
        <a:lstStyle/>
        <a:p>
          <a:r>
            <a:rPr lang="en-US" baseline="0" dirty="0"/>
            <a:t>Page, Partition or Table locking can be more efficient</a:t>
          </a:r>
          <a:endParaRPr lang="en-US" dirty="0"/>
        </a:p>
      </dgm:t>
    </dgm:pt>
    <dgm:pt modelId="{CC1FD42B-ADC9-4582-BD32-4519F2A69F52}" type="parTrans" cxnId="{68929653-2F61-476E-83A1-0199F81BBB4A}">
      <dgm:prSet/>
      <dgm:spPr/>
      <dgm:t>
        <a:bodyPr/>
        <a:lstStyle/>
        <a:p>
          <a:endParaRPr lang="en-US"/>
        </a:p>
      </dgm:t>
    </dgm:pt>
    <dgm:pt modelId="{642CEA58-128F-4A1D-9B19-3E35217D35A0}" type="sibTrans" cxnId="{68929653-2F61-476E-83A1-0199F81BBB4A}">
      <dgm:prSet/>
      <dgm:spPr/>
      <dgm:t>
        <a:bodyPr/>
        <a:lstStyle/>
        <a:p>
          <a:endParaRPr lang="en-US"/>
        </a:p>
      </dgm:t>
    </dgm:pt>
    <dgm:pt modelId="{DE84A2B3-A793-4FC3-BBEB-36061634B054}">
      <dgm:prSet/>
      <dgm:spPr/>
      <dgm:t>
        <a:bodyPr/>
        <a:lstStyle/>
        <a:p>
          <a:r>
            <a:rPr lang="en-US" baseline="0" dirty="0"/>
            <a:t>SQL Server chooses lock granularity (Row, Page, Table) at run time based on input from the Query Optimizer</a:t>
          </a:r>
          <a:endParaRPr lang="en-US" dirty="0"/>
        </a:p>
      </dgm:t>
    </dgm:pt>
    <dgm:pt modelId="{697678BC-4FC5-412A-BCE7-A3F260AE692F}" type="parTrans" cxnId="{7C549AA7-6A5A-4043-8D96-2F20F8C3AFBD}">
      <dgm:prSet/>
      <dgm:spPr/>
      <dgm:t>
        <a:bodyPr/>
        <a:lstStyle/>
        <a:p>
          <a:endParaRPr lang="en-US"/>
        </a:p>
      </dgm:t>
    </dgm:pt>
    <dgm:pt modelId="{7F483304-EB42-47D7-8A1B-CC55BA920AAD}" type="sibTrans" cxnId="{7C549AA7-6A5A-4043-8D96-2F20F8C3AFBD}">
      <dgm:prSet/>
      <dgm:spPr/>
      <dgm:t>
        <a:bodyPr/>
        <a:lstStyle/>
        <a:p>
          <a:endParaRPr lang="en-US"/>
        </a:p>
      </dgm:t>
    </dgm:pt>
    <dgm:pt modelId="{90E62BFE-56A4-4160-9462-4BC1A44EFCC3}">
      <dgm:prSet/>
      <dgm:spPr/>
      <dgm:t>
        <a:bodyPr/>
        <a:lstStyle/>
        <a:p>
          <a:r>
            <a:rPr lang="en-US" baseline="0" dirty="0"/>
            <a:t>Least-expensive method is chosen</a:t>
          </a:r>
          <a:endParaRPr lang="en-US" dirty="0"/>
        </a:p>
      </dgm:t>
    </dgm:pt>
    <dgm:pt modelId="{1AEAA986-5560-40E9-8A8D-9F1FBCB7A501}" type="parTrans" cxnId="{CE17B664-89B6-401B-A28D-4264961302F2}">
      <dgm:prSet/>
      <dgm:spPr/>
      <dgm:t>
        <a:bodyPr/>
        <a:lstStyle/>
        <a:p>
          <a:endParaRPr lang="en-US"/>
        </a:p>
      </dgm:t>
    </dgm:pt>
    <dgm:pt modelId="{2B2840B9-1D7D-4C67-B6CC-2C923AA206DD}" type="sibTrans" cxnId="{CE17B664-89B6-401B-A28D-4264961302F2}">
      <dgm:prSet/>
      <dgm:spPr/>
      <dgm:t>
        <a:bodyPr/>
        <a:lstStyle/>
        <a:p>
          <a:endParaRPr lang="en-US"/>
        </a:p>
      </dgm:t>
    </dgm:pt>
    <dgm:pt modelId="{ED756AA9-412A-4086-9F84-6EEF6A5F8D43}">
      <dgm:prSet/>
      <dgm:spPr/>
      <dgm:t>
        <a:bodyPr/>
        <a:lstStyle/>
        <a:p>
          <a:r>
            <a:rPr lang="en-US" baseline="0" dirty="0"/>
            <a:t>Available resources at the time of execution may have an impact</a:t>
          </a:r>
          <a:endParaRPr lang="en-US" dirty="0"/>
        </a:p>
      </dgm:t>
    </dgm:pt>
    <dgm:pt modelId="{6318A4EB-5D23-4DBF-BA9C-45BD7E548213}" type="parTrans" cxnId="{7402D2AF-E72D-4E19-8559-DE3F6733E107}">
      <dgm:prSet/>
      <dgm:spPr/>
      <dgm:t>
        <a:bodyPr/>
        <a:lstStyle/>
        <a:p>
          <a:endParaRPr lang="en-US"/>
        </a:p>
      </dgm:t>
    </dgm:pt>
    <dgm:pt modelId="{8062C621-A674-49F7-A130-8BDE49178942}" type="sibTrans" cxnId="{7402D2AF-E72D-4E19-8559-DE3F6733E107}">
      <dgm:prSet/>
      <dgm:spPr/>
      <dgm:t>
        <a:bodyPr/>
        <a:lstStyle/>
        <a:p>
          <a:endParaRPr lang="en-US"/>
        </a:p>
      </dgm:t>
    </dgm:pt>
    <dgm:pt modelId="{396C7918-7759-43AA-85CA-E9E185A26577}">
      <dgm:prSet/>
      <dgm:spPr/>
      <dgm:t>
        <a:bodyPr/>
        <a:lstStyle/>
        <a:p>
          <a:r>
            <a:rPr lang="en-US" baseline="0" dirty="0"/>
            <a:t>Incorrect estimates could lead to making the wrong choice</a:t>
          </a:r>
          <a:endParaRPr lang="en-US" dirty="0"/>
        </a:p>
      </dgm:t>
    </dgm:pt>
    <dgm:pt modelId="{B6DD0B3A-68D5-4769-A434-F58BAEE1CAFE}" type="parTrans" cxnId="{C218B313-603D-436A-AD99-174418ED2FE4}">
      <dgm:prSet/>
      <dgm:spPr/>
      <dgm:t>
        <a:bodyPr/>
        <a:lstStyle/>
        <a:p>
          <a:endParaRPr lang="en-US"/>
        </a:p>
      </dgm:t>
    </dgm:pt>
    <dgm:pt modelId="{6BAF66F6-A205-4151-8D47-2B819C9D8114}" type="sibTrans" cxnId="{C218B313-603D-436A-AD99-174418ED2FE4}">
      <dgm:prSet/>
      <dgm:spPr/>
      <dgm:t>
        <a:bodyPr/>
        <a:lstStyle/>
        <a:p>
          <a:endParaRPr lang="en-US"/>
        </a:p>
      </dgm:t>
    </dgm:pt>
    <dgm:pt modelId="{EA165A94-2801-4725-8BF8-3FD29C69527E}">
      <dgm:prSet/>
      <dgm:spPr/>
      <dgm:t>
        <a:bodyPr/>
        <a:lstStyle/>
        <a:p>
          <a:r>
            <a:rPr lang="en-US"/>
            <a:t>One Table lock is cheaper and easier to manage than thousands of Row locks</a:t>
          </a:r>
          <a:endParaRPr lang="en-US" dirty="0"/>
        </a:p>
      </dgm:t>
    </dgm:pt>
    <dgm:pt modelId="{223C3AE0-F0CC-492D-8C9C-FD858AD83013}" type="parTrans" cxnId="{F45CBB9B-936A-4EE0-BBF7-405070B92C0D}">
      <dgm:prSet/>
      <dgm:spPr/>
      <dgm:t>
        <a:bodyPr/>
        <a:lstStyle/>
        <a:p>
          <a:endParaRPr lang="en-US"/>
        </a:p>
      </dgm:t>
    </dgm:pt>
    <dgm:pt modelId="{5E565132-5EC7-41C3-BF6F-F85CC706240B}" type="sibTrans" cxnId="{F45CBB9B-936A-4EE0-BBF7-405070B92C0D}">
      <dgm:prSet/>
      <dgm:spPr/>
      <dgm:t>
        <a:bodyPr/>
        <a:lstStyle/>
        <a:p>
          <a:endParaRPr lang="en-US"/>
        </a:p>
      </dgm:t>
    </dgm:pt>
    <dgm:pt modelId="{C7FD5082-CC78-4DE7-ABF2-668B7A4F3CA0}" type="pres">
      <dgm:prSet presAssocID="{DBCEDFF0-49C4-48C3-8C56-92E4D55DF4A1}" presName="linear" presStyleCnt="0">
        <dgm:presLayoutVars>
          <dgm:animLvl val="lvl"/>
          <dgm:resizeHandles val="exact"/>
        </dgm:presLayoutVars>
      </dgm:prSet>
      <dgm:spPr/>
    </dgm:pt>
    <dgm:pt modelId="{52297981-852E-4CA5-92AF-B43E3E8D32F4}" type="pres">
      <dgm:prSet presAssocID="{DC60217E-A014-47E1-9BF6-E6815E5C2917}" presName="parentText" presStyleLbl="node1" presStyleIdx="0" presStyleCnt="3">
        <dgm:presLayoutVars>
          <dgm:chMax val="0"/>
          <dgm:bulletEnabled val="1"/>
        </dgm:presLayoutVars>
      </dgm:prSet>
      <dgm:spPr/>
    </dgm:pt>
    <dgm:pt modelId="{CC7C6BDC-1688-4EAE-84EA-B9DD9929A7F9}" type="pres">
      <dgm:prSet presAssocID="{DC60217E-A014-47E1-9BF6-E6815E5C2917}" presName="childText" presStyleLbl="revTx" presStyleIdx="0" presStyleCnt="3">
        <dgm:presLayoutVars>
          <dgm:bulletEnabled val="1"/>
        </dgm:presLayoutVars>
      </dgm:prSet>
      <dgm:spPr/>
    </dgm:pt>
    <dgm:pt modelId="{2AB990F1-E284-4231-87D8-8B5F6804C6BE}" type="pres">
      <dgm:prSet presAssocID="{BE72DA3D-8B5D-4CB2-B7E3-1FDE90951D3C}" presName="parentText" presStyleLbl="node1" presStyleIdx="1" presStyleCnt="3">
        <dgm:presLayoutVars>
          <dgm:chMax val="0"/>
          <dgm:bulletEnabled val="1"/>
        </dgm:presLayoutVars>
      </dgm:prSet>
      <dgm:spPr/>
    </dgm:pt>
    <dgm:pt modelId="{288B3E8D-E67E-40D0-B95C-25FDB23C7CC1}" type="pres">
      <dgm:prSet presAssocID="{BE72DA3D-8B5D-4CB2-B7E3-1FDE90951D3C}" presName="childText" presStyleLbl="revTx" presStyleIdx="1" presStyleCnt="3">
        <dgm:presLayoutVars>
          <dgm:bulletEnabled val="1"/>
        </dgm:presLayoutVars>
      </dgm:prSet>
      <dgm:spPr/>
    </dgm:pt>
    <dgm:pt modelId="{8FB2FCDD-C2F9-41FB-A158-D12FB049E0C1}" type="pres">
      <dgm:prSet presAssocID="{DE84A2B3-A793-4FC3-BBEB-36061634B054}" presName="parentText" presStyleLbl="node1" presStyleIdx="2" presStyleCnt="3">
        <dgm:presLayoutVars>
          <dgm:chMax val="0"/>
          <dgm:bulletEnabled val="1"/>
        </dgm:presLayoutVars>
      </dgm:prSet>
      <dgm:spPr/>
    </dgm:pt>
    <dgm:pt modelId="{89425357-B5FE-4689-8276-23C4DEEFA18A}" type="pres">
      <dgm:prSet presAssocID="{DE84A2B3-A793-4FC3-BBEB-36061634B054}" presName="childText" presStyleLbl="revTx" presStyleIdx="2" presStyleCnt="3">
        <dgm:presLayoutVars>
          <dgm:bulletEnabled val="1"/>
        </dgm:presLayoutVars>
      </dgm:prSet>
      <dgm:spPr/>
    </dgm:pt>
  </dgm:ptLst>
  <dgm:cxnLst>
    <dgm:cxn modelId="{C218B313-603D-436A-AD99-174418ED2FE4}" srcId="{DE84A2B3-A793-4FC3-BBEB-36061634B054}" destId="{396C7918-7759-43AA-85CA-E9E185A26577}" srcOrd="2" destOrd="0" parTransId="{B6DD0B3A-68D5-4769-A434-F58BAEE1CAFE}" sibTransId="{6BAF66F6-A205-4151-8D47-2B819C9D8114}"/>
    <dgm:cxn modelId="{2FE7BC14-07F3-4377-82EF-5B4AB94F7CF4}" type="presOf" srcId="{DC60217E-A014-47E1-9BF6-E6815E5C2917}" destId="{52297981-852E-4CA5-92AF-B43E3E8D32F4}" srcOrd="0" destOrd="0" presId="urn:microsoft.com/office/officeart/2005/8/layout/vList2"/>
    <dgm:cxn modelId="{01DC8028-CB9D-46F6-825F-7B16FF715D03}" type="presOf" srcId="{90E62BFE-56A4-4160-9462-4BC1A44EFCC3}" destId="{89425357-B5FE-4689-8276-23C4DEEFA18A}" srcOrd="0" destOrd="0" presId="urn:microsoft.com/office/officeart/2005/8/layout/vList2"/>
    <dgm:cxn modelId="{417A4E2B-8D52-49DA-A00C-DB3108B2B0D8}" type="presOf" srcId="{EA165A94-2801-4725-8BF8-3FD29C69527E}" destId="{288B3E8D-E67E-40D0-B95C-25FDB23C7CC1}" srcOrd="0" destOrd="0" presId="urn:microsoft.com/office/officeart/2005/8/layout/vList2"/>
    <dgm:cxn modelId="{3A23065F-D029-4CA4-A979-F6F4482CB6D8}" type="presOf" srcId="{DE84A2B3-A793-4FC3-BBEB-36061634B054}" destId="{8FB2FCDD-C2F9-41FB-A158-D12FB049E0C1}" srcOrd="0" destOrd="0" presId="urn:microsoft.com/office/officeart/2005/8/layout/vList2"/>
    <dgm:cxn modelId="{CE17B664-89B6-401B-A28D-4264961302F2}" srcId="{DE84A2B3-A793-4FC3-BBEB-36061634B054}" destId="{90E62BFE-56A4-4160-9462-4BC1A44EFCC3}" srcOrd="0" destOrd="0" parTransId="{1AEAA986-5560-40E9-8A8D-9F1FBCB7A501}" sibTransId="{2B2840B9-1D7D-4C67-B6CC-2C923AA206DD}"/>
    <dgm:cxn modelId="{68929653-2F61-476E-83A1-0199F81BBB4A}" srcId="{DBCEDFF0-49C4-48C3-8C56-92E4D55DF4A1}" destId="{BE72DA3D-8B5D-4CB2-B7E3-1FDE90951D3C}" srcOrd="1" destOrd="0" parTransId="{CC1FD42B-ADC9-4582-BD32-4519F2A69F52}" sibTransId="{642CEA58-128F-4A1D-9B19-3E35217D35A0}"/>
    <dgm:cxn modelId="{7899FE73-36DD-45F2-9211-F281DDBB8E17}" type="presOf" srcId="{396C7918-7759-43AA-85CA-E9E185A26577}" destId="{89425357-B5FE-4689-8276-23C4DEEFA18A}" srcOrd="0" destOrd="2" presId="urn:microsoft.com/office/officeart/2005/8/layout/vList2"/>
    <dgm:cxn modelId="{75D84858-7F1C-475C-B958-759953BCC148}" srcId="{DC60217E-A014-47E1-9BF6-E6815E5C2917}" destId="{2E609BB5-2F60-4A89-B099-2A8969DBD31A}" srcOrd="0" destOrd="0" parTransId="{B6F5B6CC-2FD1-483C-9B9B-5102A7145606}" sibTransId="{A4559B61-A25B-4179-9683-589DF810D4F5}"/>
    <dgm:cxn modelId="{012D427B-0F26-407E-B229-C356D02F40AE}" type="presOf" srcId="{DBCEDFF0-49C4-48C3-8C56-92E4D55DF4A1}" destId="{C7FD5082-CC78-4DE7-ABF2-668B7A4F3CA0}" srcOrd="0" destOrd="0" presId="urn:microsoft.com/office/officeart/2005/8/layout/vList2"/>
    <dgm:cxn modelId="{512C4683-2CC7-4200-8064-31EB7EC4194C}" type="presOf" srcId="{BE72DA3D-8B5D-4CB2-B7E3-1FDE90951D3C}" destId="{2AB990F1-E284-4231-87D8-8B5F6804C6BE}" srcOrd="0" destOrd="0" presId="urn:microsoft.com/office/officeart/2005/8/layout/vList2"/>
    <dgm:cxn modelId="{59B97B88-9956-4C6D-9AB9-6EB5D8FB6A0A}" type="presOf" srcId="{2E609BB5-2F60-4A89-B099-2A8969DBD31A}" destId="{CC7C6BDC-1688-4EAE-84EA-B9DD9929A7F9}" srcOrd="0" destOrd="0" presId="urn:microsoft.com/office/officeart/2005/8/layout/vList2"/>
    <dgm:cxn modelId="{F45CBB9B-936A-4EE0-BBF7-405070B92C0D}" srcId="{BE72DA3D-8B5D-4CB2-B7E3-1FDE90951D3C}" destId="{EA165A94-2801-4725-8BF8-3FD29C69527E}" srcOrd="0" destOrd="0" parTransId="{223C3AE0-F0CC-492D-8C9C-FD858AD83013}" sibTransId="{5E565132-5EC7-41C3-BF6F-F85CC706240B}"/>
    <dgm:cxn modelId="{7C549AA7-6A5A-4043-8D96-2F20F8C3AFBD}" srcId="{DBCEDFF0-49C4-48C3-8C56-92E4D55DF4A1}" destId="{DE84A2B3-A793-4FC3-BBEB-36061634B054}" srcOrd="2" destOrd="0" parTransId="{697678BC-4FC5-412A-BCE7-A3F260AE692F}" sibTransId="{7F483304-EB42-47D7-8A1B-CC55BA920AAD}"/>
    <dgm:cxn modelId="{7402D2AF-E72D-4E19-8559-DE3F6733E107}" srcId="{DE84A2B3-A793-4FC3-BBEB-36061634B054}" destId="{ED756AA9-412A-4086-9F84-6EEF6A5F8D43}" srcOrd="1" destOrd="0" parTransId="{6318A4EB-5D23-4DBF-BA9C-45BD7E548213}" sibTransId="{8062C621-A674-49F7-A130-8BDE49178942}"/>
    <dgm:cxn modelId="{B72983C0-4A60-49A0-8388-485A5CDB2799}" type="presOf" srcId="{ED756AA9-412A-4086-9F84-6EEF6A5F8D43}" destId="{89425357-B5FE-4689-8276-23C4DEEFA18A}" srcOrd="0" destOrd="1" presId="urn:microsoft.com/office/officeart/2005/8/layout/vList2"/>
    <dgm:cxn modelId="{86166AD4-08AB-4602-9690-5D033B3B3020}" srcId="{DBCEDFF0-49C4-48C3-8C56-92E4D55DF4A1}" destId="{DC60217E-A014-47E1-9BF6-E6815E5C2917}" srcOrd="0" destOrd="0" parTransId="{C588DFD8-54AA-405D-A273-D2AB36062C8A}" sibTransId="{5106A7A1-365E-4EE8-A773-797432DB6A9F}"/>
    <dgm:cxn modelId="{D397890C-471B-4E2A-A0EC-9DDBEFAD57FE}" type="presParOf" srcId="{C7FD5082-CC78-4DE7-ABF2-668B7A4F3CA0}" destId="{52297981-852E-4CA5-92AF-B43E3E8D32F4}" srcOrd="0" destOrd="0" presId="urn:microsoft.com/office/officeart/2005/8/layout/vList2"/>
    <dgm:cxn modelId="{93389FAF-D3C7-43FB-9298-AFB6ACA72DDB}" type="presParOf" srcId="{C7FD5082-CC78-4DE7-ABF2-668B7A4F3CA0}" destId="{CC7C6BDC-1688-4EAE-84EA-B9DD9929A7F9}" srcOrd="1" destOrd="0" presId="urn:microsoft.com/office/officeart/2005/8/layout/vList2"/>
    <dgm:cxn modelId="{3FF0CB3B-93BB-4287-880E-7A23D03AA38B}" type="presParOf" srcId="{C7FD5082-CC78-4DE7-ABF2-668B7A4F3CA0}" destId="{2AB990F1-E284-4231-87D8-8B5F6804C6BE}" srcOrd="2" destOrd="0" presId="urn:microsoft.com/office/officeart/2005/8/layout/vList2"/>
    <dgm:cxn modelId="{67CEDE6C-10B6-4B2C-A879-7BC3A853B10B}" type="presParOf" srcId="{C7FD5082-CC78-4DE7-ABF2-668B7A4F3CA0}" destId="{288B3E8D-E67E-40D0-B95C-25FDB23C7CC1}" srcOrd="3" destOrd="0" presId="urn:microsoft.com/office/officeart/2005/8/layout/vList2"/>
    <dgm:cxn modelId="{37887770-4786-4D52-A0F4-2B693BFE92CA}" type="presParOf" srcId="{C7FD5082-CC78-4DE7-ABF2-668B7A4F3CA0}" destId="{8FB2FCDD-C2F9-41FB-A158-D12FB049E0C1}" srcOrd="4" destOrd="0" presId="urn:microsoft.com/office/officeart/2005/8/layout/vList2"/>
    <dgm:cxn modelId="{8D110314-F2B0-4843-BFA6-BB7039D7A8E0}" type="presParOf" srcId="{C7FD5082-CC78-4DE7-ABF2-668B7A4F3CA0}" destId="{89425357-B5FE-4689-8276-23C4DEEFA18A}"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b="0" dirty="0">
              <a:latin typeface="Segoe UI Light" panose="020B0502040204020203" pitchFamily="34" charset="0"/>
              <a:cs typeface="Segoe UI Light" panose="020B0502040204020203" pitchFamily="34" charset="0"/>
            </a:rPr>
            <a:t>What is a Lock?</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418CC07E-60A8-4964-8F8D-DE5072ACF3AE}">
      <dgm:prSet custT="1"/>
      <dgm:spPr/>
      <dgm:t>
        <a:bodyPr/>
        <a:lstStyle/>
        <a:p>
          <a:r>
            <a:rPr lang="en-US" sz="2400" b="0" dirty="0">
              <a:latin typeface="Segoe UI Light" panose="020B0502040204020203" pitchFamily="34" charset="0"/>
              <a:cs typeface="Segoe UI Light" panose="020B0502040204020203" pitchFamily="34" charset="0"/>
            </a:rPr>
            <a:t>Why is an intent lock acquired?</a:t>
          </a:r>
        </a:p>
      </dgm:t>
    </dgm:pt>
    <dgm:pt modelId="{71830CAB-A849-43AF-B52F-0AA1356AE93A}" type="parTrans" cxnId="{F2229882-6A6F-462F-BD41-A3383DD8D81A}">
      <dgm:prSet/>
      <dgm:spPr/>
      <dgm:t>
        <a:bodyPr/>
        <a:lstStyle/>
        <a:p>
          <a:endParaRPr lang="en-US" sz="2800"/>
        </a:p>
      </dgm:t>
    </dgm:pt>
    <dgm:pt modelId="{83A99661-D9FA-4C77-A79E-390DBD588621}" type="sibTrans" cxnId="{F2229882-6A6F-462F-BD41-A3383DD8D81A}">
      <dgm:prSet/>
      <dgm:spPr/>
      <dgm:t>
        <a:bodyPr/>
        <a:lstStyle/>
        <a:p>
          <a:endParaRPr lang="en-US" sz="2800"/>
        </a:p>
      </dgm:t>
    </dgm:pt>
    <dgm:pt modelId="{969344F5-F410-4C65-B866-8B5CFEF8952C}">
      <dgm:prSet custT="1"/>
      <dgm:spPr/>
      <dgm:t>
        <a:bodyPr/>
        <a:lstStyle/>
        <a:p>
          <a:r>
            <a:rPr lang="en-US" sz="2400" b="0" dirty="0">
              <a:latin typeface="Segoe UI Light" panose="020B0502040204020203" pitchFamily="34" charset="0"/>
              <a:cs typeface="Segoe UI Light" panose="020B0502040204020203" pitchFamily="34" charset="0"/>
            </a:rPr>
            <a:t>What is lock escalation and can it be controlled?</a:t>
          </a:r>
        </a:p>
      </dgm:t>
    </dgm:pt>
    <dgm:pt modelId="{6552ED4C-8EEE-48D3-938A-3E57ACB10186}" type="parTrans" cxnId="{5520C54B-61A7-49C1-9692-F710B713EB41}">
      <dgm:prSet/>
      <dgm:spPr/>
      <dgm:t>
        <a:bodyPr/>
        <a:lstStyle/>
        <a:p>
          <a:endParaRPr lang="en-US" sz="2800"/>
        </a:p>
      </dgm:t>
    </dgm:pt>
    <dgm:pt modelId="{A1F4F9C5-DA92-4DF6-914E-99120A40DCE0}" type="sibTrans" cxnId="{5520C54B-61A7-49C1-9692-F710B713EB41}">
      <dgm:prSet/>
      <dgm:spPr/>
      <dgm:t>
        <a:bodyPr/>
        <a:lstStyle/>
        <a:p>
          <a:endParaRPr lang="en-US" sz="2800"/>
        </a:p>
      </dgm:t>
    </dgm:pt>
    <dgm:pt modelId="{2539C4A6-E1C4-421E-9A76-43A43CD019F1}">
      <dgm:prSet custT="1"/>
      <dgm:spPr/>
      <dgm:t>
        <a:bodyPr/>
        <a:lstStyle/>
        <a:p>
          <a:r>
            <a:rPr lang="en-US" sz="2400" b="0" kern="1200" dirty="0">
              <a:latin typeface="Segoe UI Light" panose="020B0502040204020203" pitchFamily="34" charset="0"/>
              <a:ea typeface="+mn-ea"/>
              <a:cs typeface="Segoe UI Light" panose="020B0502040204020203" pitchFamily="34" charset="0"/>
            </a:rPr>
            <a:t>What are locking hints?</a:t>
          </a: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4" custLinFactNeighborX="-1123" custLinFactNeighborY="3777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4">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3DE18EC-8491-4704-8071-F2A4BDB5F20B}" type="doc">
      <dgm:prSet loTypeId="urn:microsoft.com/office/officeart/2005/8/layout/vList2" loCatId="list" qsTypeId="urn:microsoft.com/office/officeart/2005/8/quickstyle/simple1" qsCatId="simple" csTypeId="urn:microsoft.com/office/officeart/2005/8/colors/accent2_5" csCatId="accent2" phldr="1"/>
      <dgm:spPr/>
      <dgm:t>
        <a:bodyPr/>
        <a:lstStyle/>
        <a:p>
          <a:endParaRPr lang="en-US"/>
        </a:p>
      </dgm:t>
    </dgm:pt>
    <dgm:pt modelId="{4763C2EE-420F-4FCD-AA73-AAB32300A35F}">
      <dgm:prSet/>
      <dgm:spPr/>
      <dgm:t>
        <a:bodyPr/>
        <a:lstStyle/>
        <a:p>
          <a:r>
            <a:rPr lang="en-US" dirty="0"/>
            <a:t>Log I/O contention is still possible when there is a high degree of concurrency.</a:t>
          </a:r>
        </a:p>
      </dgm:t>
    </dgm:pt>
    <dgm:pt modelId="{430711BD-534E-41FE-BE1F-5B025E8C3C33}" type="parTrans" cxnId="{2996B5A0-2D12-4143-A14F-8D5243B163D2}">
      <dgm:prSet/>
      <dgm:spPr/>
      <dgm:t>
        <a:bodyPr/>
        <a:lstStyle/>
        <a:p>
          <a:endParaRPr lang="en-US"/>
        </a:p>
      </dgm:t>
    </dgm:pt>
    <dgm:pt modelId="{48751BCC-E0F2-4A56-9A4B-7BAB049EEADF}" type="sibTrans" cxnId="{2996B5A0-2D12-4143-A14F-8D5243B163D2}">
      <dgm:prSet/>
      <dgm:spPr/>
      <dgm:t>
        <a:bodyPr/>
        <a:lstStyle/>
        <a:p>
          <a:endParaRPr lang="en-US"/>
        </a:p>
      </dgm:t>
    </dgm:pt>
    <dgm:pt modelId="{D62AAD00-894B-42D8-ADB6-D821A3A89BDE}" type="pres">
      <dgm:prSet presAssocID="{73DE18EC-8491-4704-8071-F2A4BDB5F20B}" presName="linear" presStyleCnt="0">
        <dgm:presLayoutVars>
          <dgm:animLvl val="lvl"/>
          <dgm:resizeHandles val="exact"/>
        </dgm:presLayoutVars>
      </dgm:prSet>
      <dgm:spPr/>
    </dgm:pt>
    <dgm:pt modelId="{002830A3-079B-4506-8685-DADEEFE79F24}" type="pres">
      <dgm:prSet presAssocID="{4763C2EE-420F-4FCD-AA73-AAB32300A35F}" presName="parentText" presStyleLbl="node1" presStyleIdx="0" presStyleCnt="1" custLinFactNeighborX="-306">
        <dgm:presLayoutVars>
          <dgm:chMax val="0"/>
          <dgm:bulletEnabled val="1"/>
        </dgm:presLayoutVars>
      </dgm:prSet>
      <dgm:spPr/>
    </dgm:pt>
  </dgm:ptLst>
  <dgm:cxnLst>
    <dgm:cxn modelId="{0CE85C22-0B87-4D54-9623-D59096B7210E}" type="presOf" srcId="{4763C2EE-420F-4FCD-AA73-AAB32300A35F}" destId="{002830A3-079B-4506-8685-DADEEFE79F24}" srcOrd="0" destOrd="0" presId="urn:microsoft.com/office/officeart/2005/8/layout/vList2"/>
    <dgm:cxn modelId="{2996B5A0-2D12-4143-A14F-8D5243B163D2}" srcId="{73DE18EC-8491-4704-8071-F2A4BDB5F20B}" destId="{4763C2EE-420F-4FCD-AA73-AAB32300A35F}" srcOrd="0" destOrd="0" parTransId="{430711BD-534E-41FE-BE1F-5B025E8C3C33}" sibTransId="{48751BCC-E0F2-4A56-9A4B-7BAB049EEADF}"/>
    <dgm:cxn modelId="{19886DE9-A99A-48DF-8ADC-5DADEFBB4A59}" type="presOf" srcId="{73DE18EC-8491-4704-8071-F2A4BDB5F20B}" destId="{D62AAD00-894B-42D8-ADB6-D821A3A89BDE}" srcOrd="0" destOrd="0" presId="urn:microsoft.com/office/officeart/2005/8/layout/vList2"/>
    <dgm:cxn modelId="{62BA044A-5A24-4893-9C44-7143FEE46106}" type="presParOf" srcId="{D62AAD00-894B-42D8-ADB6-D821A3A89BDE}" destId="{002830A3-079B-4506-8685-DADEEFE79F2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CB1806-D31D-4F12-A526-2ADF1ED87D0C}"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2D376F54-8854-432D-9F17-C791CA4C1C69}">
      <dgm:prSet custT="1"/>
      <dgm:spPr/>
      <dgm:t>
        <a:bodyPr/>
        <a:lstStyle/>
        <a:p>
          <a:r>
            <a:rPr lang="en-US" sz="2400" baseline="0" dirty="0"/>
            <a:t>Some data loss can be tolerated.</a:t>
          </a:r>
          <a:endParaRPr lang="en-US" sz="2400" dirty="0"/>
        </a:p>
      </dgm:t>
    </dgm:pt>
    <dgm:pt modelId="{59BB45D1-2D19-44E6-BCD8-83CCA3A27F86}" type="parTrans" cxnId="{0612640A-CEED-42C0-A718-205EEFE15C66}">
      <dgm:prSet/>
      <dgm:spPr/>
      <dgm:t>
        <a:bodyPr/>
        <a:lstStyle/>
        <a:p>
          <a:endParaRPr lang="en-US"/>
        </a:p>
      </dgm:t>
    </dgm:pt>
    <dgm:pt modelId="{8BB8FD3C-35C7-4707-AF2F-D9AEE95D1671}" type="sibTrans" cxnId="{0612640A-CEED-42C0-A718-205EEFE15C66}">
      <dgm:prSet/>
      <dgm:spPr/>
      <dgm:t>
        <a:bodyPr/>
        <a:lstStyle/>
        <a:p>
          <a:endParaRPr lang="en-US"/>
        </a:p>
      </dgm:t>
    </dgm:pt>
    <dgm:pt modelId="{7311F3D5-1330-464B-8DF4-55A957E89ED7}">
      <dgm:prSet custT="1"/>
      <dgm:spPr/>
      <dgm:t>
        <a:bodyPr/>
        <a:lstStyle/>
        <a:p>
          <a:r>
            <a:rPr lang="en-US" sz="2400" baseline="0" dirty="0"/>
            <a:t>Transaction log writes is experiencing bottleneck.</a:t>
          </a:r>
          <a:endParaRPr lang="en-US" sz="2400" dirty="0"/>
        </a:p>
      </dgm:t>
    </dgm:pt>
    <dgm:pt modelId="{B1605589-CBF0-47BF-8ADA-8DBE079E4647}" type="parTrans" cxnId="{BED4F206-415F-4BE9-8624-8D1B2F3B81AA}">
      <dgm:prSet/>
      <dgm:spPr/>
      <dgm:t>
        <a:bodyPr/>
        <a:lstStyle/>
        <a:p>
          <a:endParaRPr lang="en-US"/>
        </a:p>
      </dgm:t>
    </dgm:pt>
    <dgm:pt modelId="{0060B814-CC13-4DF4-B9F6-10FE02CEEE7A}" type="sibTrans" cxnId="{BED4F206-415F-4BE9-8624-8D1B2F3B81AA}">
      <dgm:prSet/>
      <dgm:spPr/>
      <dgm:t>
        <a:bodyPr/>
        <a:lstStyle/>
        <a:p>
          <a:endParaRPr lang="en-US"/>
        </a:p>
      </dgm:t>
    </dgm:pt>
    <dgm:pt modelId="{45421C20-DCAD-4FEB-B333-A09C83E82377}">
      <dgm:prSet custT="1"/>
      <dgm:spPr/>
      <dgm:t>
        <a:bodyPr/>
        <a:lstStyle/>
        <a:p>
          <a:r>
            <a:rPr lang="en-US" sz="2400" baseline="0" dirty="0"/>
            <a:t>Workloads with a high contention rate.</a:t>
          </a:r>
          <a:endParaRPr lang="en-US" sz="2400" dirty="0"/>
        </a:p>
      </dgm:t>
    </dgm:pt>
    <dgm:pt modelId="{0A7E7717-E756-48DC-9FEE-2625F94E961C}" type="parTrans" cxnId="{533C9FD8-9277-4608-91EF-1397DA6C8576}">
      <dgm:prSet/>
      <dgm:spPr/>
      <dgm:t>
        <a:bodyPr/>
        <a:lstStyle/>
        <a:p>
          <a:endParaRPr lang="en-US"/>
        </a:p>
      </dgm:t>
    </dgm:pt>
    <dgm:pt modelId="{CA7DEB6E-2F58-4129-9408-69106E679C6A}" type="sibTrans" cxnId="{533C9FD8-9277-4608-91EF-1397DA6C8576}">
      <dgm:prSet/>
      <dgm:spPr/>
      <dgm:t>
        <a:bodyPr/>
        <a:lstStyle/>
        <a:p>
          <a:endParaRPr lang="en-US"/>
        </a:p>
      </dgm:t>
    </dgm:pt>
    <dgm:pt modelId="{8165F905-1B31-4EE2-9FA8-7356F6693E76}" type="pres">
      <dgm:prSet presAssocID="{9CCB1806-D31D-4F12-A526-2ADF1ED87D0C}" presName="linear" presStyleCnt="0">
        <dgm:presLayoutVars>
          <dgm:dir/>
          <dgm:animLvl val="lvl"/>
          <dgm:resizeHandles val="exact"/>
        </dgm:presLayoutVars>
      </dgm:prSet>
      <dgm:spPr/>
    </dgm:pt>
    <dgm:pt modelId="{4CEF6E87-8E7B-4134-87A2-EC88352AB228}" type="pres">
      <dgm:prSet presAssocID="{2D376F54-8854-432D-9F17-C791CA4C1C69}" presName="parentLin" presStyleCnt="0"/>
      <dgm:spPr/>
    </dgm:pt>
    <dgm:pt modelId="{02E5991D-243A-4EF1-B79D-6EFF3CFDE682}" type="pres">
      <dgm:prSet presAssocID="{2D376F54-8854-432D-9F17-C791CA4C1C69}" presName="parentLeftMargin" presStyleLbl="node1" presStyleIdx="0" presStyleCnt="3"/>
      <dgm:spPr/>
    </dgm:pt>
    <dgm:pt modelId="{32FE0912-FDF8-414C-8219-AED7A43F72C0}" type="pres">
      <dgm:prSet presAssocID="{2D376F54-8854-432D-9F17-C791CA4C1C69}" presName="parentText" presStyleLbl="node1" presStyleIdx="0" presStyleCnt="3">
        <dgm:presLayoutVars>
          <dgm:chMax val="0"/>
          <dgm:bulletEnabled val="1"/>
        </dgm:presLayoutVars>
      </dgm:prSet>
      <dgm:spPr/>
    </dgm:pt>
    <dgm:pt modelId="{2CB2688E-D871-4703-A26D-5498470BEA83}" type="pres">
      <dgm:prSet presAssocID="{2D376F54-8854-432D-9F17-C791CA4C1C69}" presName="negativeSpace" presStyleCnt="0"/>
      <dgm:spPr/>
    </dgm:pt>
    <dgm:pt modelId="{BE5D3AE4-8FE2-4D1D-968F-B478A35E0E82}" type="pres">
      <dgm:prSet presAssocID="{2D376F54-8854-432D-9F17-C791CA4C1C69}" presName="childText" presStyleLbl="conFgAcc1" presStyleIdx="0" presStyleCnt="3">
        <dgm:presLayoutVars>
          <dgm:bulletEnabled val="1"/>
        </dgm:presLayoutVars>
      </dgm:prSet>
      <dgm:spPr/>
    </dgm:pt>
    <dgm:pt modelId="{8BA77BCE-4430-458A-A981-FE81C47734C0}" type="pres">
      <dgm:prSet presAssocID="{8BB8FD3C-35C7-4707-AF2F-D9AEE95D1671}" presName="spaceBetweenRectangles" presStyleCnt="0"/>
      <dgm:spPr/>
    </dgm:pt>
    <dgm:pt modelId="{3058F350-174F-46E4-A40B-531A85F5B687}" type="pres">
      <dgm:prSet presAssocID="{7311F3D5-1330-464B-8DF4-55A957E89ED7}" presName="parentLin" presStyleCnt="0"/>
      <dgm:spPr/>
    </dgm:pt>
    <dgm:pt modelId="{4759ADB9-2596-44E2-A26D-EF708868B402}" type="pres">
      <dgm:prSet presAssocID="{7311F3D5-1330-464B-8DF4-55A957E89ED7}" presName="parentLeftMargin" presStyleLbl="node1" presStyleIdx="0" presStyleCnt="3"/>
      <dgm:spPr/>
    </dgm:pt>
    <dgm:pt modelId="{F154DCA3-40B2-4BAA-854C-11406C20BB21}" type="pres">
      <dgm:prSet presAssocID="{7311F3D5-1330-464B-8DF4-55A957E89ED7}" presName="parentText" presStyleLbl="node1" presStyleIdx="1" presStyleCnt="3">
        <dgm:presLayoutVars>
          <dgm:chMax val="0"/>
          <dgm:bulletEnabled val="1"/>
        </dgm:presLayoutVars>
      </dgm:prSet>
      <dgm:spPr/>
    </dgm:pt>
    <dgm:pt modelId="{1DB4730F-2FD7-40F1-88A5-4FF9829DF077}" type="pres">
      <dgm:prSet presAssocID="{7311F3D5-1330-464B-8DF4-55A957E89ED7}" presName="negativeSpace" presStyleCnt="0"/>
      <dgm:spPr/>
    </dgm:pt>
    <dgm:pt modelId="{6022AF2D-36E0-4BC9-A230-1D289EBA4731}" type="pres">
      <dgm:prSet presAssocID="{7311F3D5-1330-464B-8DF4-55A957E89ED7}" presName="childText" presStyleLbl="conFgAcc1" presStyleIdx="1" presStyleCnt="3">
        <dgm:presLayoutVars>
          <dgm:bulletEnabled val="1"/>
        </dgm:presLayoutVars>
      </dgm:prSet>
      <dgm:spPr/>
    </dgm:pt>
    <dgm:pt modelId="{2AA06D44-BD5F-4A22-810D-5C5659FA29B3}" type="pres">
      <dgm:prSet presAssocID="{0060B814-CC13-4DF4-B9F6-10FE02CEEE7A}" presName="spaceBetweenRectangles" presStyleCnt="0"/>
      <dgm:spPr/>
    </dgm:pt>
    <dgm:pt modelId="{2CACD6D0-DBB9-4709-B045-39E61BD81BC9}" type="pres">
      <dgm:prSet presAssocID="{45421C20-DCAD-4FEB-B333-A09C83E82377}" presName="parentLin" presStyleCnt="0"/>
      <dgm:spPr/>
    </dgm:pt>
    <dgm:pt modelId="{79C2D841-2BDA-49E3-BCE3-D1A76139989E}" type="pres">
      <dgm:prSet presAssocID="{45421C20-DCAD-4FEB-B333-A09C83E82377}" presName="parentLeftMargin" presStyleLbl="node1" presStyleIdx="1" presStyleCnt="3"/>
      <dgm:spPr/>
    </dgm:pt>
    <dgm:pt modelId="{ABAA752E-B853-4A6C-890A-E2258BFC5DE1}" type="pres">
      <dgm:prSet presAssocID="{45421C20-DCAD-4FEB-B333-A09C83E82377}" presName="parentText" presStyleLbl="node1" presStyleIdx="2" presStyleCnt="3">
        <dgm:presLayoutVars>
          <dgm:chMax val="0"/>
          <dgm:bulletEnabled val="1"/>
        </dgm:presLayoutVars>
      </dgm:prSet>
      <dgm:spPr/>
    </dgm:pt>
    <dgm:pt modelId="{67636CBD-F67E-474D-8AB0-45846568EDD8}" type="pres">
      <dgm:prSet presAssocID="{45421C20-DCAD-4FEB-B333-A09C83E82377}" presName="negativeSpace" presStyleCnt="0"/>
      <dgm:spPr/>
    </dgm:pt>
    <dgm:pt modelId="{51743888-4F76-4191-82C5-B7C49B4073DD}" type="pres">
      <dgm:prSet presAssocID="{45421C20-DCAD-4FEB-B333-A09C83E82377}" presName="childText" presStyleLbl="conFgAcc1" presStyleIdx="2" presStyleCnt="3">
        <dgm:presLayoutVars>
          <dgm:bulletEnabled val="1"/>
        </dgm:presLayoutVars>
      </dgm:prSet>
      <dgm:spPr/>
    </dgm:pt>
  </dgm:ptLst>
  <dgm:cxnLst>
    <dgm:cxn modelId="{BED4F206-415F-4BE9-8624-8D1B2F3B81AA}" srcId="{9CCB1806-D31D-4F12-A526-2ADF1ED87D0C}" destId="{7311F3D5-1330-464B-8DF4-55A957E89ED7}" srcOrd="1" destOrd="0" parTransId="{B1605589-CBF0-47BF-8ADA-8DBE079E4647}" sibTransId="{0060B814-CC13-4DF4-B9F6-10FE02CEEE7A}"/>
    <dgm:cxn modelId="{0612640A-CEED-42C0-A718-205EEFE15C66}" srcId="{9CCB1806-D31D-4F12-A526-2ADF1ED87D0C}" destId="{2D376F54-8854-432D-9F17-C791CA4C1C69}" srcOrd="0" destOrd="0" parTransId="{59BB45D1-2D19-44E6-BCD8-83CCA3A27F86}" sibTransId="{8BB8FD3C-35C7-4707-AF2F-D9AEE95D1671}"/>
    <dgm:cxn modelId="{02369E0B-B560-465B-A36A-A4DE414130F1}" type="presOf" srcId="{7311F3D5-1330-464B-8DF4-55A957E89ED7}" destId="{4759ADB9-2596-44E2-A26D-EF708868B402}" srcOrd="0" destOrd="0" presId="urn:microsoft.com/office/officeart/2005/8/layout/list1"/>
    <dgm:cxn modelId="{AB07C90F-0EF7-4130-A1BC-737A9ADAD71E}" type="presOf" srcId="{2D376F54-8854-432D-9F17-C791CA4C1C69}" destId="{32FE0912-FDF8-414C-8219-AED7A43F72C0}" srcOrd="1" destOrd="0" presId="urn:microsoft.com/office/officeart/2005/8/layout/list1"/>
    <dgm:cxn modelId="{BD52F044-49F4-4DB5-A94A-BE6E93E1CE97}" type="presOf" srcId="{9CCB1806-D31D-4F12-A526-2ADF1ED87D0C}" destId="{8165F905-1B31-4EE2-9FA8-7356F6693E76}" srcOrd="0" destOrd="0" presId="urn:microsoft.com/office/officeart/2005/8/layout/list1"/>
    <dgm:cxn modelId="{A590F379-ED46-4885-9FE3-B8EDEED13E04}" type="presOf" srcId="{45421C20-DCAD-4FEB-B333-A09C83E82377}" destId="{ABAA752E-B853-4A6C-890A-E2258BFC5DE1}" srcOrd="1" destOrd="0" presId="urn:microsoft.com/office/officeart/2005/8/layout/list1"/>
    <dgm:cxn modelId="{FC577982-0445-438E-956B-C815C3DED914}" type="presOf" srcId="{45421C20-DCAD-4FEB-B333-A09C83E82377}" destId="{79C2D841-2BDA-49E3-BCE3-D1A76139989E}" srcOrd="0" destOrd="0" presId="urn:microsoft.com/office/officeart/2005/8/layout/list1"/>
    <dgm:cxn modelId="{533C9FD8-9277-4608-91EF-1397DA6C8576}" srcId="{9CCB1806-D31D-4F12-A526-2ADF1ED87D0C}" destId="{45421C20-DCAD-4FEB-B333-A09C83E82377}" srcOrd="2" destOrd="0" parTransId="{0A7E7717-E756-48DC-9FEE-2625F94E961C}" sibTransId="{CA7DEB6E-2F58-4129-9408-69106E679C6A}"/>
    <dgm:cxn modelId="{3C3ECAEC-12A3-4663-87D9-A1F7BF0EF68A}" type="presOf" srcId="{2D376F54-8854-432D-9F17-C791CA4C1C69}" destId="{02E5991D-243A-4EF1-B79D-6EFF3CFDE682}" srcOrd="0" destOrd="0" presId="urn:microsoft.com/office/officeart/2005/8/layout/list1"/>
    <dgm:cxn modelId="{58BFB1FD-780B-4247-921D-CFEC3DF8C4CA}" type="presOf" srcId="{7311F3D5-1330-464B-8DF4-55A957E89ED7}" destId="{F154DCA3-40B2-4BAA-854C-11406C20BB21}" srcOrd="1" destOrd="0" presId="urn:microsoft.com/office/officeart/2005/8/layout/list1"/>
    <dgm:cxn modelId="{E5DBB6E5-EF10-49CD-B570-2B57E4022E34}" type="presParOf" srcId="{8165F905-1B31-4EE2-9FA8-7356F6693E76}" destId="{4CEF6E87-8E7B-4134-87A2-EC88352AB228}" srcOrd="0" destOrd="0" presId="urn:microsoft.com/office/officeart/2005/8/layout/list1"/>
    <dgm:cxn modelId="{B8F42025-A074-4132-B2CE-5972DD0BB1F7}" type="presParOf" srcId="{4CEF6E87-8E7B-4134-87A2-EC88352AB228}" destId="{02E5991D-243A-4EF1-B79D-6EFF3CFDE682}" srcOrd="0" destOrd="0" presId="urn:microsoft.com/office/officeart/2005/8/layout/list1"/>
    <dgm:cxn modelId="{E02ECD3E-C9DD-466C-A6BB-642202FC1A99}" type="presParOf" srcId="{4CEF6E87-8E7B-4134-87A2-EC88352AB228}" destId="{32FE0912-FDF8-414C-8219-AED7A43F72C0}" srcOrd="1" destOrd="0" presId="urn:microsoft.com/office/officeart/2005/8/layout/list1"/>
    <dgm:cxn modelId="{E26F8903-C9D6-49D7-8F5C-DDE38DFDB46D}" type="presParOf" srcId="{8165F905-1B31-4EE2-9FA8-7356F6693E76}" destId="{2CB2688E-D871-4703-A26D-5498470BEA83}" srcOrd="1" destOrd="0" presId="urn:microsoft.com/office/officeart/2005/8/layout/list1"/>
    <dgm:cxn modelId="{F3FEAB36-726C-42B4-8D70-8CDB37EF8C58}" type="presParOf" srcId="{8165F905-1B31-4EE2-9FA8-7356F6693E76}" destId="{BE5D3AE4-8FE2-4D1D-968F-B478A35E0E82}" srcOrd="2" destOrd="0" presId="urn:microsoft.com/office/officeart/2005/8/layout/list1"/>
    <dgm:cxn modelId="{F3694F55-F9D9-43EB-8280-C04018DFF780}" type="presParOf" srcId="{8165F905-1B31-4EE2-9FA8-7356F6693E76}" destId="{8BA77BCE-4430-458A-A981-FE81C47734C0}" srcOrd="3" destOrd="0" presId="urn:microsoft.com/office/officeart/2005/8/layout/list1"/>
    <dgm:cxn modelId="{F092A132-1570-4764-ABE2-EDF110485B54}" type="presParOf" srcId="{8165F905-1B31-4EE2-9FA8-7356F6693E76}" destId="{3058F350-174F-46E4-A40B-531A85F5B687}" srcOrd="4" destOrd="0" presId="urn:microsoft.com/office/officeart/2005/8/layout/list1"/>
    <dgm:cxn modelId="{D6742364-C7AE-4BFE-A178-2B7C1CE91FA6}" type="presParOf" srcId="{3058F350-174F-46E4-A40B-531A85F5B687}" destId="{4759ADB9-2596-44E2-A26D-EF708868B402}" srcOrd="0" destOrd="0" presId="urn:microsoft.com/office/officeart/2005/8/layout/list1"/>
    <dgm:cxn modelId="{42C852D2-C5BC-4304-A2BB-2425EC36809F}" type="presParOf" srcId="{3058F350-174F-46E4-A40B-531A85F5B687}" destId="{F154DCA3-40B2-4BAA-854C-11406C20BB21}" srcOrd="1" destOrd="0" presId="urn:microsoft.com/office/officeart/2005/8/layout/list1"/>
    <dgm:cxn modelId="{E38AEF6A-5F4E-4FB5-88FB-27F155240E16}" type="presParOf" srcId="{8165F905-1B31-4EE2-9FA8-7356F6693E76}" destId="{1DB4730F-2FD7-40F1-88A5-4FF9829DF077}" srcOrd="5" destOrd="0" presId="urn:microsoft.com/office/officeart/2005/8/layout/list1"/>
    <dgm:cxn modelId="{700C42DD-38AF-4DC6-B56C-20B77E7EAB5C}" type="presParOf" srcId="{8165F905-1B31-4EE2-9FA8-7356F6693E76}" destId="{6022AF2D-36E0-4BC9-A230-1D289EBA4731}" srcOrd="6" destOrd="0" presId="urn:microsoft.com/office/officeart/2005/8/layout/list1"/>
    <dgm:cxn modelId="{91A64297-F304-43B3-9D61-93C7EA8ABB43}" type="presParOf" srcId="{8165F905-1B31-4EE2-9FA8-7356F6693E76}" destId="{2AA06D44-BD5F-4A22-810D-5C5659FA29B3}" srcOrd="7" destOrd="0" presId="urn:microsoft.com/office/officeart/2005/8/layout/list1"/>
    <dgm:cxn modelId="{F76921D4-C0D5-439E-8F8E-B146CA4AD821}" type="presParOf" srcId="{8165F905-1B31-4EE2-9FA8-7356F6693E76}" destId="{2CACD6D0-DBB9-4709-B045-39E61BD81BC9}" srcOrd="8" destOrd="0" presId="urn:microsoft.com/office/officeart/2005/8/layout/list1"/>
    <dgm:cxn modelId="{16930B6D-A973-410D-A2C7-8041205D984F}" type="presParOf" srcId="{2CACD6D0-DBB9-4709-B045-39E61BD81BC9}" destId="{79C2D841-2BDA-49E3-BCE3-D1A76139989E}" srcOrd="0" destOrd="0" presId="urn:microsoft.com/office/officeart/2005/8/layout/list1"/>
    <dgm:cxn modelId="{578847EE-3141-4F37-943F-B3577BEBDD46}" type="presParOf" srcId="{2CACD6D0-DBB9-4709-B045-39E61BD81BC9}" destId="{ABAA752E-B853-4A6C-890A-E2258BFC5DE1}" srcOrd="1" destOrd="0" presId="urn:microsoft.com/office/officeart/2005/8/layout/list1"/>
    <dgm:cxn modelId="{D300E986-E931-44EA-AA8F-52407C097C80}" type="presParOf" srcId="{8165F905-1B31-4EE2-9FA8-7356F6693E76}" destId="{67636CBD-F67E-474D-8AB0-45846568EDD8}" srcOrd="9" destOrd="0" presId="urn:microsoft.com/office/officeart/2005/8/layout/list1"/>
    <dgm:cxn modelId="{9D80C719-E354-4E7E-BF21-94C14CB38F27}" type="presParOf" srcId="{8165F905-1B31-4EE2-9FA8-7356F6693E76}" destId="{51743888-4F76-4191-82C5-B7C49B4073DD}"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E3C286F-6BCE-4D27-BD10-EAEAC2B8311A}"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03DEC04B-0746-47B1-A4AD-F5A6DC9761B3}">
      <dgm:prSet/>
      <dgm:spPr/>
      <dgm:t>
        <a:bodyPr/>
        <a:lstStyle/>
        <a:p>
          <a:r>
            <a:rPr lang="en-US" baseline="0" dirty="0"/>
            <a:t>Durability automatically managed by system behind the scenes</a:t>
          </a:r>
          <a:endParaRPr lang="en-US" dirty="0"/>
        </a:p>
      </dgm:t>
    </dgm:pt>
    <dgm:pt modelId="{F303D8D8-A67C-4DB3-95B9-2C3DF9EF0488}" type="parTrans" cxnId="{357CB5B2-ADF0-4DCA-ACEF-A71C77C3363C}">
      <dgm:prSet/>
      <dgm:spPr/>
      <dgm:t>
        <a:bodyPr/>
        <a:lstStyle/>
        <a:p>
          <a:endParaRPr lang="en-US"/>
        </a:p>
      </dgm:t>
    </dgm:pt>
    <dgm:pt modelId="{2AB3356C-50EB-44D7-A008-16DEA31DD5BE}" type="sibTrans" cxnId="{357CB5B2-ADF0-4DCA-ACEF-A71C77C3363C}">
      <dgm:prSet/>
      <dgm:spPr/>
      <dgm:t>
        <a:bodyPr/>
        <a:lstStyle/>
        <a:p>
          <a:endParaRPr lang="en-US"/>
        </a:p>
      </dgm:t>
    </dgm:pt>
    <dgm:pt modelId="{E64B7905-F454-4C33-84CB-7412D8EBCEAA}">
      <dgm:prSet/>
      <dgm:spPr/>
      <dgm:t>
        <a:bodyPr/>
        <a:lstStyle/>
        <a:p>
          <a:pPr algn="ctr"/>
          <a:r>
            <a:rPr lang="en-US" baseline="0" dirty="0"/>
            <a:t>Transaction flush is  guaranteed when:</a:t>
          </a:r>
          <a:endParaRPr lang="en-US" dirty="0"/>
        </a:p>
      </dgm:t>
    </dgm:pt>
    <dgm:pt modelId="{2BAAF12F-8A40-4EB8-816C-06B8A4CFFAA5}" type="parTrans" cxnId="{47F85FFB-A490-4316-B009-E7AEC5397915}">
      <dgm:prSet/>
      <dgm:spPr/>
      <dgm:t>
        <a:bodyPr/>
        <a:lstStyle/>
        <a:p>
          <a:endParaRPr lang="en-US"/>
        </a:p>
      </dgm:t>
    </dgm:pt>
    <dgm:pt modelId="{1C8C8BC7-726A-4204-BFA8-20BEBED64BAE}" type="sibTrans" cxnId="{47F85FFB-A490-4316-B009-E7AEC5397915}">
      <dgm:prSet/>
      <dgm:spPr/>
      <dgm:t>
        <a:bodyPr/>
        <a:lstStyle/>
        <a:p>
          <a:endParaRPr lang="en-US"/>
        </a:p>
      </dgm:t>
    </dgm:pt>
    <dgm:pt modelId="{ABA3DFDB-2E0B-41EE-9DD3-76294C6F9016}">
      <dgm:prSet/>
      <dgm:spPr/>
      <dgm:t>
        <a:bodyPr/>
        <a:lstStyle/>
        <a:p>
          <a:pPr algn="ctr"/>
          <a:r>
            <a:rPr lang="en-US" baseline="0" dirty="0"/>
            <a:t>A Durable transaction is run</a:t>
          </a:r>
          <a:endParaRPr lang="en-US" dirty="0"/>
        </a:p>
      </dgm:t>
    </dgm:pt>
    <dgm:pt modelId="{F7F2E21F-29B5-4D46-8658-F43C66C73427}" type="parTrans" cxnId="{0B7082D8-454B-4CF9-9630-B08471789FE4}">
      <dgm:prSet/>
      <dgm:spPr/>
      <dgm:t>
        <a:bodyPr/>
        <a:lstStyle/>
        <a:p>
          <a:endParaRPr lang="en-US"/>
        </a:p>
      </dgm:t>
    </dgm:pt>
    <dgm:pt modelId="{0FE9D6AB-8CA9-4665-809D-989F49E1387D}" type="sibTrans" cxnId="{0B7082D8-454B-4CF9-9630-B08471789FE4}">
      <dgm:prSet/>
      <dgm:spPr/>
      <dgm:t>
        <a:bodyPr/>
        <a:lstStyle/>
        <a:p>
          <a:endParaRPr lang="en-US"/>
        </a:p>
      </dgm:t>
    </dgm:pt>
    <dgm:pt modelId="{3D34AA4A-BF3A-48DC-BD34-AD3739CFE804}">
      <dgm:prSet/>
      <dgm:spPr/>
      <dgm:t>
        <a:bodyPr/>
        <a:lstStyle/>
        <a:p>
          <a:pPr algn="ctr"/>
          <a:r>
            <a:rPr lang="en-US" baseline="0" dirty="0"/>
            <a:t>By manually running </a:t>
          </a:r>
          <a:r>
            <a:rPr lang="en-US" baseline="0" dirty="0" err="1"/>
            <a:t>sp_flush_log</a:t>
          </a:r>
          <a:endParaRPr lang="en-US" dirty="0"/>
        </a:p>
      </dgm:t>
    </dgm:pt>
    <dgm:pt modelId="{185B61E8-2C42-47B1-8158-471C07B6D2FF}" type="parTrans" cxnId="{097E0765-832F-4A99-A3C4-693066F097DF}">
      <dgm:prSet/>
      <dgm:spPr/>
      <dgm:t>
        <a:bodyPr/>
        <a:lstStyle/>
        <a:p>
          <a:endParaRPr lang="en-US"/>
        </a:p>
      </dgm:t>
    </dgm:pt>
    <dgm:pt modelId="{4D69C109-7F19-44E4-B71A-359E6A284003}" type="sibTrans" cxnId="{097E0765-832F-4A99-A3C4-693066F097DF}">
      <dgm:prSet/>
      <dgm:spPr/>
      <dgm:t>
        <a:bodyPr/>
        <a:lstStyle/>
        <a:p>
          <a:endParaRPr lang="en-US"/>
        </a:p>
      </dgm:t>
    </dgm:pt>
    <dgm:pt modelId="{76885BCC-561E-430A-8900-691CE5B73CA5}">
      <dgm:prSet/>
      <dgm:spPr/>
      <dgm:t>
        <a:bodyPr/>
        <a:lstStyle/>
        <a:p>
          <a:pPr algn="ctr"/>
          <a:r>
            <a:rPr lang="en-US" baseline="0" dirty="0"/>
            <a:t>The Log buffer is flushed </a:t>
          </a:r>
          <a:endParaRPr lang="en-US" dirty="0"/>
        </a:p>
      </dgm:t>
    </dgm:pt>
    <dgm:pt modelId="{93053478-A057-4C61-959D-7D572911A2A4}" type="parTrans" cxnId="{63AD467F-5944-440D-90EA-81C79AE66F0C}">
      <dgm:prSet/>
      <dgm:spPr/>
      <dgm:t>
        <a:bodyPr/>
        <a:lstStyle/>
        <a:p>
          <a:endParaRPr lang="en-US"/>
        </a:p>
      </dgm:t>
    </dgm:pt>
    <dgm:pt modelId="{5EFFCF3F-0524-4144-97C7-4144867C6B3C}" type="sibTrans" cxnId="{63AD467F-5944-440D-90EA-81C79AE66F0C}">
      <dgm:prSet/>
      <dgm:spPr/>
      <dgm:t>
        <a:bodyPr/>
        <a:lstStyle/>
        <a:p>
          <a:endParaRPr lang="en-US"/>
        </a:p>
      </dgm:t>
    </dgm:pt>
    <dgm:pt modelId="{3BB760FD-9FEF-4FD7-A7AB-4BD6469D7723}">
      <dgm:prSet/>
      <dgm:spPr/>
      <dgm:t>
        <a:bodyPr/>
        <a:lstStyle/>
        <a:p>
          <a:r>
            <a:rPr lang="en-US" baseline="0" dirty="0"/>
            <a:t>All system transactions are durable</a:t>
          </a:r>
          <a:endParaRPr lang="en-US" dirty="0"/>
        </a:p>
      </dgm:t>
    </dgm:pt>
    <dgm:pt modelId="{32ABE667-3069-480B-94A6-8E88EAAA7476}" type="parTrans" cxnId="{5ADB83C6-B9C5-4B49-9236-CAD4F0C01A89}">
      <dgm:prSet/>
      <dgm:spPr/>
      <dgm:t>
        <a:bodyPr/>
        <a:lstStyle/>
        <a:p>
          <a:endParaRPr lang="en-US"/>
        </a:p>
      </dgm:t>
    </dgm:pt>
    <dgm:pt modelId="{F33FF257-3153-435C-84CF-A38CB830ADFC}" type="sibTrans" cxnId="{5ADB83C6-B9C5-4B49-9236-CAD4F0C01A89}">
      <dgm:prSet/>
      <dgm:spPr/>
      <dgm:t>
        <a:bodyPr/>
        <a:lstStyle/>
        <a:p>
          <a:endParaRPr lang="en-US"/>
        </a:p>
      </dgm:t>
    </dgm:pt>
    <dgm:pt modelId="{53CD3077-10A1-45C5-A0AF-FC682F04F262}">
      <dgm:prSet/>
      <dgm:spPr/>
      <dgm:t>
        <a:bodyPr/>
        <a:lstStyle/>
        <a:p>
          <a:r>
            <a:rPr lang="en-US" baseline="0" dirty="0"/>
            <a:t>TempDB has the lazy commit behavior by default</a:t>
          </a:r>
          <a:endParaRPr lang="en-US" dirty="0"/>
        </a:p>
      </dgm:t>
    </dgm:pt>
    <dgm:pt modelId="{62000C8C-7B4C-4EF8-895F-5440715B21C2}" type="parTrans" cxnId="{994592EA-08F0-4CDC-865D-8A92B838CE46}">
      <dgm:prSet/>
      <dgm:spPr/>
      <dgm:t>
        <a:bodyPr/>
        <a:lstStyle/>
        <a:p>
          <a:endParaRPr lang="en-US"/>
        </a:p>
      </dgm:t>
    </dgm:pt>
    <dgm:pt modelId="{1F2A89E7-A5EA-49A9-A90E-7D17DCB9182E}" type="sibTrans" cxnId="{994592EA-08F0-4CDC-865D-8A92B838CE46}">
      <dgm:prSet/>
      <dgm:spPr/>
      <dgm:t>
        <a:bodyPr/>
        <a:lstStyle/>
        <a:p>
          <a:endParaRPr lang="en-US"/>
        </a:p>
      </dgm:t>
    </dgm:pt>
    <dgm:pt modelId="{EA1A0FE9-721C-4137-A71E-5271ED5376C0}" type="pres">
      <dgm:prSet presAssocID="{8E3C286F-6BCE-4D27-BD10-EAEAC2B8311A}" presName="diagram" presStyleCnt="0">
        <dgm:presLayoutVars>
          <dgm:dir/>
          <dgm:resizeHandles val="exact"/>
        </dgm:presLayoutVars>
      </dgm:prSet>
      <dgm:spPr/>
    </dgm:pt>
    <dgm:pt modelId="{CC1CBE05-A621-4161-BB35-FECCE5696F9E}" type="pres">
      <dgm:prSet presAssocID="{03DEC04B-0746-47B1-A4AD-F5A6DC9761B3}" presName="node" presStyleLbl="node1" presStyleIdx="0" presStyleCnt="4">
        <dgm:presLayoutVars>
          <dgm:bulletEnabled val="1"/>
        </dgm:presLayoutVars>
      </dgm:prSet>
      <dgm:spPr/>
    </dgm:pt>
    <dgm:pt modelId="{C1118051-389E-4710-AD09-94B1E38F40F2}" type="pres">
      <dgm:prSet presAssocID="{2AB3356C-50EB-44D7-A008-16DEA31DD5BE}" presName="sibTrans" presStyleCnt="0"/>
      <dgm:spPr/>
    </dgm:pt>
    <dgm:pt modelId="{0829C59C-6B2E-4700-B8A0-1D2739435FF3}" type="pres">
      <dgm:prSet presAssocID="{E64B7905-F454-4C33-84CB-7412D8EBCEAA}" presName="node" presStyleLbl="node1" presStyleIdx="1" presStyleCnt="4">
        <dgm:presLayoutVars>
          <dgm:bulletEnabled val="1"/>
        </dgm:presLayoutVars>
      </dgm:prSet>
      <dgm:spPr/>
    </dgm:pt>
    <dgm:pt modelId="{A39EF609-D488-47BF-A736-37160C673AEB}" type="pres">
      <dgm:prSet presAssocID="{1C8C8BC7-726A-4204-BFA8-20BEBED64BAE}" presName="sibTrans" presStyleCnt="0"/>
      <dgm:spPr/>
    </dgm:pt>
    <dgm:pt modelId="{86FB6218-1F81-42AB-8FBB-81CD979CE0FE}" type="pres">
      <dgm:prSet presAssocID="{3BB760FD-9FEF-4FD7-A7AB-4BD6469D7723}" presName="node" presStyleLbl="node1" presStyleIdx="2" presStyleCnt="4">
        <dgm:presLayoutVars>
          <dgm:bulletEnabled val="1"/>
        </dgm:presLayoutVars>
      </dgm:prSet>
      <dgm:spPr/>
    </dgm:pt>
    <dgm:pt modelId="{FB17F6CF-CF6B-4CDC-890B-872E65F46BCF}" type="pres">
      <dgm:prSet presAssocID="{F33FF257-3153-435C-84CF-A38CB830ADFC}" presName="sibTrans" presStyleCnt="0"/>
      <dgm:spPr/>
    </dgm:pt>
    <dgm:pt modelId="{8FF72588-E4DC-425D-B266-89DDC46EEC7A}" type="pres">
      <dgm:prSet presAssocID="{53CD3077-10A1-45C5-A0AF-FC682F04F262}" presName="node" presStyleLbl="node1" presStyleIdx="3" presStyleCnt="4">
        <dgm:presLayoutVars>
          <dgm:bulletEnabled val="1"/>
        </dgm:presLayoutVars>
      </dgm:prSet>
      <dgm:spPr/>
    </dgm:pt>
  </dgm:ptLst>
  <dgm:cxnLst>
    <dgm:cxn modelId="{020C0C15-B3F1-4108-8FCD-6FB981D6FA97}" type="presOf" srcId="{53CD3077-10A1-45C5-A0AF-FC682F04F262}" destId="{8FF72588-E4DC-425D-B266-89DDC46EEC7A}" srcOrd="0" destOrd="0" presId="urn:microsoft.com/office/officeart/2005/8/layout/default"/>
    <dgm:cxn modelId="{69730D43-0B21-4C57-BB11-EB77C7396DB0}" type="presOf" srcId="{76885BCC-561E-430A-8900-691CE5B73CA5}" destId="{0829C59C-6B2E-4700-B8A0-1D2739435FF3}" srcOrd="0" destOrd="3" presId="urn:microsoft.com/office/officeart/2005/8/layout/default"/>
    <dgm:cxn modelId="{097E0765-832F-4A99-A3C4-693066F097DF}" srcId="{E64B7905-F454-4C33-84CB-7412D8EBCEAA}" destId="{3D34AA4A-BF3A-48DC-BD34-AD3739CFE804}" srcOrd="1" destOrd="0" parTransId="{185B61E8-2C42-47B1-8158-471C07B6D2FF}" sibTransId="{4D69C109-7F19-44E4-B71A-359E6A284003}"/>
    <dgm:cxn modelId="{2776436E-B15B-4530-BBDA-FC6EECF45AB2}" type="presOf" srcId="{E64B7905-F454-4C33-84CB-7412D8EBCEAA}" destId="{0829C59C-6B2E-4700-B8A0-1D2739435FF3}" srcOrd="0" destOrd="0" presId="urn:microsoft.com/office/officeart/2005/8/layout/default"/>
    <dgm:cxn modelId="{63AD467F-5944-440D-90EA-81C79AE66F0C}" srcId="{E64B7905-F454-4C33-84CB-7412D8EBCEAA}" destId="{76885BCC-561E-430A-8900-691CE5B73CA5}" srcOrd="2" destOrd="0" parTransId="{93053478-A057-4C61-959D-7D572911A2A4}" sibTransId="{5EFFCF3F-0524-4144-97C7-4144867C6B3C}"/>
    <dgm:cxn modelId="{E1901191-1CAA-495A-B922-36481FEE2653}" type="presOf" srcId="{3D34AA4A-BF3A-48DC-BD34-AD3739CFE804}" destId="{0829C59C-6B2E-4700-B8A0-1D2739435FF3}" srcOrd="0" destOrd="2" presId="urn:microsoft.com/office/officeart/2005/8/layout/default"/>
    <dgm:cxn modelId="{393583A2-D406-4B25-B403-BB445E62A37F}" type="presOf" srcId="{8E3C286F-6BCE-4D27-BD10-EAEAC2B8311A}" destId="{EA1A0FE9-721C-4137-A71E-5271ED5376C0}" srcOrd="0" destOrd="0" presId="urn:microsoft.com/office/officeart/2005/8/layout/default"/>
    <dgm:cxn modelId="{357CB5B2-ADF0-4DCA-ACEF-A71C77C3363C}" srcId="{8E3C286F-6BCE-4D27-BD10-EAEAC2B8311A}" destId="{03DEC04B-0746-47B1-A4AD-F5A6DC9761B3}" srcOrd="0" destOrd="0" parTransId="{F303D8D8-A67C-4DB3-95B9-2C3DF9EF0488}" sibTransId="{2AB3356C-50EB-44D7-A008-16DEA31DD5BE}"/>
    <dgm:cxn modelId="{5ADB83C6-B9C5-4B49-9236-CAD4F0C01A89}" srcId="{8E3C286F-6BCE-4D27-BD10-EAEAC2B8311A}" destId="{3BB760FD-9FEF-4FD7-A7AB-4BD6469D7723}" srcOrd="2" destOrd="0" parTransId="{32ABE667-3069-480B-94A6-8E88EAAA7476}" sibTransId="{F33FF257-3153-435C-84CF-A38CB830ADFC}"/>
    <dgm:cxn modelId="{7175F7D3-D859-4B28-846A-6F629B4A80AB}" type="presOf" srcId="{3BB760FD-9FEF-4FD7-A7AB-4BD6469D7723}" destId="{86FB6218-1F81-42AB-8FBB-81CD979CE0FE}" srcOrd="0" destOrd="0" presId="urn:microsoft.com/office/officeart/2005/8/layout/default"/>
    <dgm:cxn modelId="{EEA031D5-742C-4F16-8A84-D6E9D61F1F66}" type="presOf" srcId="{03DEC04B-0746-47B1-A4AD-F5A6DC9761B3}" destId="{CC1CBE05-A621-4161-BB35-FECCE5696F9E}" srcOrd="0" destOrd="0" presId="urn:microsoft.com/office/officeart/2005/8/layout/default"/>
    <dgm:cxn modelId="{0B7082D8-454B-4CF9-9630-B08471789FE4}" srcId="{E64B7905-F454-4C33-84CB-7412D8EBCEAA}" destId="{ABA3DFDB-2E0B-41EE-9DD3-76294C6F9016}" srcOrd="0" destOrd="0" parTransId="{F7F2E21F-29B5-4D46-8658-F43C66C73427}" sibTransId="{0FE9D6AB-8CA9-4665-809D-989F49E1387D}"/>
    <dgm:cxn modelId="{994592EA-08F0-4CDC-865D-8A92B838CE46}" srcId="{8E3C286F-6BCE-4D27-BD10-EAEAC2B8311A}" destId="{53CD3077-10A1-45C5-A0AF-FC682F04F262}" srcOrd="3" destOrd="0" parTransId="{62000C8C-7B4C-4EF8-895F-5440715B21C2}" sibTransId="{1F2A89E7-A5EA-49A9-A90E-7D17DCB9182E}"/>
    <dgm:cxn modelId="{AC035CF9-CBB9-496A-8308-B2B723A2E71E}" type="presOf" srcId="{ABA3DFDB-2E0B-41EE-9DD3-76294C6F9016}" destId="{0829C59C-6B2E-4700-B8A0-1D2739435FF3}" srcOrd="0" destOrd="1" presId="urn:microsoft.com/office/officeart/2005/8/layout/default"/>
    <dgm:cxn modelId="{47F85FFB-A490-4316-B009-E7AEC5397915}" srcId="{8E3C286F-6BCE-4D27-BD10-EAEAC2B8311A}" destId="{E64B7905-F454-4C33-84CB-7412D8EBCEAA}" srcOrd="1" destOrd="0" parTransId="{2BAAF12F-8A40-4EB8-816C-06B8A4CFFAA5}" sibTransId="{1C8C8BC7-726A-4204-BFA8-20BEBED64BAE}"/>
    <dgm:cxn modelId="{D4444617-362C-45AF-852D-6BD4192EFA2F}" type="presParOf" srcId="{EA1A0FE9-721C-4137-A71E-5271ED5376C0}" destId="{CC1CBE05-A621-4161-BB35-FECCE5696F9E}" srcOrd="0" destOrd="0" presId="urn:microsoft.com/office/officeart/2005/8/layout/default"/>
    <dgm:cxn modelId="{882474C8-48A0-4D0E-A03B-C3C4DE713BC5}" type="presParOf" srcId="{EA1A0FE9-721C-4137-A71E-5271ED5376C0}" destId="{C1118051-389E-4710-AD09-94B1E38F40F2}" srcOrd="1" destOrd="0" presId="urn:microsoft.com/office/officeart/2005/8/layout/default"/>
    <dgm:cxn modelId="{BA3ADF22-237C-4F1E-936C-8FA1ECE6A666}" type="presParOf" srcId="{EA1A0FE9-721C-4137-A71E-5271ED5376C0}" destId="{0829C59C-6B2E-4700-B8A0-1D2739435FF3}" srcOrd="2" destOrd="0" presId="urn:microsoft.com/office/officeart/2005/8/layout/default"/>
    <dgm:cxn modelId="{59BAE5CF-44E8-40C9-BBCF-5127071C91A9}" type="presParOf" srcId="{EA1A0FE9-721C-4137-A71E-5271ED5376C0}" destId="{A39EF609-D488-47BF-A736-37160C673AEB}" srcOrd="3" destOrd="0" presId="urn:microsoft.com/office/officeart/2005/8/layout/default"/>
    <dgm:cxn modelId="{B90AB0A1-F3C9-4C2F-983A-AE4F5F945199}" type="presParOf" srcId="{EA1A0FE9-721C-4137-A71E-5271ED5376C0}" destId="{86FB6218-1F81-42AB-8FBB-81CD979CE0FE}" srcOrd="4" destOrd="0" presId="urn:microsoft.com/office/officeart/2005/8/layout/default"/>
    <dgm:cxn modelId="{5F729285-C23B-405B-A4CE-222F959602F7}" type="presParOf" srcId="{EA1A0FE9-721C-4137-A71E-5271ED5376C0}" destId="{FB17F6CF-CF6B-4CDC-890B-872E65F46BCF}" srcOrd="5" destOrd="0" presId="urn:microsoft.com/office/officeart/2005/8/layout/default"/>
    <dgm:cxn modelId="{22F3C472-5F3D-432A-B8FE-6469755B5970}" type="presParOf" srcId="{EA1A0FE9-721C-4137-A71E-5271ED5376C0}" destId="{8FF72588-E4DC-425D-B266-89DDC46EEC7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EBF25A54-B9E2-433C-88FB-D7C1343C5C3B}" type="doc">
      <dgm:prSet loTypeId="urn:microsoft.com/office/officeart/2005/8/layout/vList2" loCatId="list" qsTypeId="urn:microsoft.com/office/officeart/2005/8/quickstyle/simple1" qsCatId="simple" csTypeId="urn:microsoft.com/office/officeart/2005/8/colors/accent3_3" csCatId="accent3" phldr="1"/>
      <dgm:spPr/>
      <dgm:t>
        <a:bodyPr/>
        <a:lstStyle/>
        <a:p>
          <a:endParaRPr lang="en-US"/>
        </a:p>
      </dgm:t>
    </dgm:pt>
    <dgm:pt modelId="{F65E74F6-84F3-40B1-8DD0-F4001079CB66}" type="pres">
      <dgm:prSet presAssocID="{EBF25A54-B9E2-433C-88FB-D7C1343C5C3B}" presName="linear" presStyleCnt="0">
        <dgm:presLayoutVars>
          <dgm:animLvl val="lvl"/>
          <dgm:resizeHandles val="exact"/>
        </dgm:presLayoutVars>
      </dgm:prSet>
      <dgm:spPr/>
    </dgm:pt>
  </dgm:ptLst>
  <dgm:cxnLst>
    <dgm:cxn modelId="{15990E04-8B82-4A5A-BCF2-976569DF6BE8}" type="presOf" srcId="{EBF25A54-B9E2-433C-88FB-D7C1343C5C3B}" destId="{F65E74F6-84F3-40B1-8DD0-F4001079CB66}"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EF22971-1D80-4164-A497-E26B1CE6A70F}"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1A21F928-8047-4256-A164-59C5A4F0538B}">
      <dgm:prSet/>
      <dgm:spPr/>
      <dgm:t>
        <a:bodyPr/>
        <a:lstStyle/>
        <a:p>
          <a:r>
            <a:rPr lang="en-US" dirty="0"/>
            <a:t>Change tracking and change data capture</a:t>
          </a:r>
        </a:p>
      </dgm:t>
    </dgm:pt>
    <dgm:pt modelId="{D107291D-91DD-4185-8729-D420ACFAB7FD}" type="parTrans" cxnId="{8FCA161D-D9E9-4EBD-993B-2B33BF92FE88}">
      <dgm:prSet/>
      <dgm:spPr/>
      <dgm:t>
        <a:bodyPr/>
        <a:lstStyle/>
        <a:p>
          <a:endParaRPr lang="en-US"/>
        </a:p>
      </dgm:t>
    </dgm:pt>
    <dgm:pt modelId="{7C9208D0-238A-4484-9C39-9D75B3774ABA}" type="sibTrans" cxnId="{8FCA161D-D9E9-4EBD-993B-2B33BF92FE88}">
      <dgm:prSet/>
      <dgm:spPr/>
      <dgm:t>
        <a:bodyPr/>
        <a:lstStyle/>
        <a:p>
          <a:endParaRPr lang="en-US"/>
        </a:p>
      </dgm:t>
    </dgm:pt>
    <dgm:pt modelId="{C3795F51-1D1D-4262-919D-BD2524D7B139}">
      <dgm:prSet/>
      <dgm:spPr/>
      <dgm:t>
        <a:bodyPr/>
        <a:lstStyle/>
        <a:p>
          <a:r>
            <a:rPr lang="en-US" dirty="0"/>
            <a:t>Crash recovery</a:t>
          </a:r>
        </a:p>
      </dgm:t>
    </dgm:pt>
    <dgm:pt modelId="{541C47FF-B15C-44C6-8464-DE7BFE8C154B}" type="parTrans" cxnId="{6F089886-6822-4708-B5F8-787052EDAD91}">
      <dgm:prSet/>
      <dgm:spPr/>
      <dgm:t>
        <a:bodyPr/>
        <a:lstStyle/>
        <a:p>
          <a:endParaRPr lang="en-US"/>
        </a:p>
      </dgm:t>
    </dgm:pt>
    <dgm:pt modelId="{642ABAE7-197C-4419-BCEA-FA8E3E3630FF}" type="sibTrans" cxnId="{6F089886-6822-4708-B5F8-787052EDAD91}">
      <dgm:prSet/>
      <dgm:spPr/>
      <dgm:t>
        <a:bodyPr/>
        <a:lstStyle/>
        <a:p>
          <a:endParaRPr lang="en-US"/>
        </a:p>
      </dgm:t>
    </dgm:pt>
    <dgm:pt modelId="{D476027C-B89F-46E7-BB35-8619774E284D}">
      <dgm:prSet/>
      <dgm:spPr/>
      <dgm:t>
        <a:bodyPr/>
        <a:lstStyle/>
        <a:p>
          <a:r>
            <a:rPr lang="en-US" dirty="0"/>
            <a:t>Cross-database and DTC</a:t>
          </a:r>
        </a:p>
      </dgm:t>
    </dgm:pt>
    <dgm:pt modelId="{460D08C3-C335-4C81-9B93-3F065ABB59E0}" type="parTrans" cxnId="{48004AE1-4B3D-48B1-A2D8-458B11E4459F}">
      <dgm:prSet/>
      <dgm:spPr/>
      <dgm:t>
        <a:bodyPr/>
        <a:lstStyle/>
        <a:p>
          <a:endParaRPr lang="en-US"/>
        </a:p>
      </dgm:t>
    </dgm:pt>
    <dgm:pt modelId="{95DDF5FD-C7AB-47A0-A6A5-5E76745D7805}" type="sibTrans" cxnId="{48004AE1-4B3D-48B1-A2D8-458B11E4459F}">
      <dgm:prSet/>
      <dgm:spPr/>
      <dgm:t>
        <a:bodyPr/>
        <a:lstStyle/>
        <a:p>
          <a:endParaRPr lang="en-US"/>
        </a:p>
      </dgm:t>
    </dgm:pt>
    <dgm:pt modelId="{42D97971-0EF3-4C3B-858C-5C45846E0630}">
      <dgm:prSet/>
      <dgm:spPr/>
      <dgm:t>
        <a:bodyPr/>
        <a:lstStyle/>
        <a:p>
          <a:r>
            <a:rPr lang="en-US" dirty="0"/>
            <a:t>Always On Availability Groups and Mirroring</a:t>
          </a:r>
        </a:p>
      </dgm:t>
    </dgm:pt>
    <dgm:pt modelId="{6827DF3F-6662-460C-A2E7-289A20A3E4EB}" type="parTrans" cxnId="{F30F59E4-F3F8-4BD2-AC39-D6567BF0B02E}">
      <dgm:prSet/>
      <dgm:spPr/>
      <dgm:t>
        <a:bodyPr/>
        <a:lstStyle/>
        <a:p>
          <a:endParaRPr lang="en-US"/>
        </a:p>
      </dgm:t>
    </dgm:pt>
    <dgm:pt modelId="{D0EA21F4-7D91-470F-8B79-77D8FBDCFB8D}" type="sibTrans" cxnId="{F30F59E4-F3F8-4BD2-AC39-D6567BF0B02E}">
      <dgm:prSet/>
      <dgm:spPr/>
      <dgm:t>
        <a:bodyPr/>
        <a:lstStyle/>
        <a:p>
          <a:endParaRPr lang="en-US"/>
        </a:p>
      </dgm:t>
    </dgm:pt>
    <dgm:pt modelId="{F1DF3979-D09C-431B-8B70-110F3CEF89FC}">
      <dgm:prSet/>
      <dgm:spPr/>
      <dgm:t>
        <a:bodyPr/>
        <a:lstStyle/>
        <a:p>
          <a:r>
            <a:rPr lang="en-US" dirty="0"/>
            <a:t>Consistency is guaranteed, but some changes from delayed durable transactions that have committed may be lost.</a:t>
          </a:r>
        </a:p>
      </dgm:t>
    </dgm:pt>
    <dgm:pt modelId="{4CA0C68B-C144-4F56-B6B9-14C1DE85A2E1}" type="parTrans" cxnId="{CC0F549C-F694-4F02-8F09-2A4F87BA684B}">
      <dgm:prSet/>
      <dgm:spPr/>
      <dgm:t>
        <a:bodyPr/>
        <a:lstStyle/>
        <a:p>
          <a:endParaRPr lang="en-US"/>
        </a:p>
      </dgm:t>
    </dgm:pt>
    <dgm:pt modelId="{05466B04-D286-43CD-B322-AFF36A00A38B}" type="sibTrans" cxnId="{CC0F549C-F694-4F02-8F09-2A4F87BA684B}">
      <dgm:prSet/>
      <dgm:spPr/>
      <dgm:t>
        <a:bodyPr/>
        <a:lstStyle/>
        <a:p>
          <a:endParaRPr lang="en-US"/>
        </a:p>
      </dgm:t>
    </dgm:pt>
    <dgm:pt modelId="{987FE890-0621-48FE-BB05-87C1912A2755}">
      <dgm:prSet/>
      <dgm:spPr/>
      <dgm:t>
        <a:bodyPr/>
        <a:lstStyle/>
        <a:p>
          <a:r>
            <a:rPr lang="en-US" dirty="0"/>
            <a:t>If a transaction is cross-database or distributed, it is fully durable, regardless of any database or transaction commit setting.</a:t>
          </a:r>
        </a:p>
      </dgm:t>
    </dgm:pt>
    <dgm:pt modelId="{2E7FAA91-1456-4FD2-B104-D1CDD39D26AC}" type="parTrans" cxnId="{7335FCDF-F3F5-4A53-809E-88DDBA3EA4AC}">
      <dgm:prSet/>
      <dgm:spPr/>
      <dgm:t>
        <a:bodyPr/>
        <a:lstStyle/>
        <a:p>
          <a:endParaRPr lang="en-US"/>
        </a:p>
      </dgm:t>
    </dgm:pt>
    <dgm:pt modelId="{6B4563A8-5EAF-4961-B739-6C38389C8533}" type="sibTrans" cxnId="{7335FCDF-F3F5-4A53-809E-88DDBA3EA4AC}">
      <dgm:prSet/>
      <dgm:spPr/>
      <dgm:t>
        <a:bodyPr/>
        <a:lstStyle/>
        <a:p>
          <a:endParaRPr lang="en-US"/>
        </a:p>
      </dgm:t>
    </dgm:pt>
    <dgm:pt modelId="{1FE112D8-852F-433E-B398-A7C958EDD9AA}">
      <dgm:prSet/>
      <dgm:spPr/>
      <dgm:t>
        <a:bodyPr/>
        <a:lstStyle/>
        <a:p>
          <a:r>
            <a:rPr lang="en-US" dirty="0"/>
            <a:t>Delayed durable transactions do not guarantee any durability on either the primary or any of the secondaries.</a:t>
          </a:r>
        </a:p>
      </dgm:t>
    </dgm:pt>
    <dgm:pt modelId="{1AAC958D-646D-4749-A82F-D989071B3D15}" type="parTrans" cxnId="{E49F453D-8ED8-4381-847B-DA907B5ED212}">
      <dgm:prSet/>
      <dgm:spPr/>
      <dgm:t>
        <a:bodyPr/>
        <a:lstStyle/>
        <a:p>
          <a:endParaRPr lang="en-US"/>
        </a:p>
      </dgm:t>
    </dgm:pt>
    <dgm:pt modelId="{7F268C69-4D2D-4B38-BCCD-462E64320C01}" type="sibTrans" cxnId="{E49F453D-8ED8-4381-847B-DA907B5ED212}">
      <dgm:prSet/>
      <dgm:spPr/>
      <dgm:t>
        <a:bodyPr/>
        <a:lstStyle/>
        <a:p>
          <a:endParaRPr lang="en-US"/>
        </a:p>
      </dgm:t>
    </dgm:pt>
    <dgm:pt modelId="{6EB4AAB9-99C7-4C35-9282-0ED59AC1CA14}">
      <dgm:prSet/>
      <dgm:spPr/>
      <dgm:t>
        <a:bodyPr/>
        <a:lstStyle/>
        <a:p>
          <a:r>
            <a:rPr lang="en-US" dirty="0"/>
            <a:t>The use of delayed durability is not supported for databases which use change data capture (CDC).</a:t>
          </a:r>
        </a:p>
      </dgm:t>
    </dgm:pt>
    <dgm:pt modelId="{4E24A8EE-27CD-46BF-BDEA-627DA5ADAFE6}" type="parTrans" cxnId="{65B69D41-47DA-4CC4-9161-431A23E262A7}">
      <dgm:prSet/>
      <dgm:spPr/>
      <dgm:t>
        <a:bodyPr/>
        <a:lstStyle/>
        <a:p>
          <a:endParaRPr lang="en-US"/>
        </a:p>
      </dgm:t>
    </dgm:pt>
    <dgm:pt modelId="{D7EFB683-DB3E-4494-8B4C-61A9EF734C2A}" type="sibTrans" cxnId="{65B69D41-47DA-4CC4-9161-431A23E262A7}">
      <dgm:prSet/>
      <dgm:spPr/>
      <dgm:t>
        <a:bodyPr/>
        <a:lstStyle/>
        <a:p>
          <a:endParaRPr lang="en-US"/>
        </a:p>
      </dgm:t>
    </dgm:pt>
    <dgm:pt modelId="{5A06EAD2-29E7-425F-A6BF-3E526B4DE308}" type="pres">
      <dgm:prSet presAssocID="{DEF22971-1D80-4164-A497-E26B1CE6A70F}" presName="Name0" presStyleCnt="0">
        <dgm:presLayoutVars>
          <dgm:dir/>
          <dgm:animLvl val="lvl"/>
          <dgm:resizeHandles val="exact"/>
        </dgm:presLayoutVars>
      </dgm:prSet>
      <dgm:spPr/>
    </dgm:pt>
    <dgm:pt modelId="{489D3562-E769-417A-8A3F-6BB551D1E531}" type="pres">
      <dgm:prSet presAssocID="{1A21F928-8047-4256-A164-59C5A4F0538B}" presName="composite" presStyleCnt="0"/>
      <dgm:spPr/>
    </dgm:pt>
    <dgm:pt modelId="{728D0689-907F-4375-A0B3-C5800F309C63}" type="pres">
      <dgm:prSet presAssocID="{1A21F928-8047-4256-A164-59C5A4F0538B}" presName="parTx" presStyleLbl="alignNode1" presStyleIdx="0" presStyleCnt="4">
        <dgm:presLayoutVars>
          <dgm:chMax val="0"/>
          <dgm:chPref val="0"/>
          <dgm:bulletEnabled val="1"/>
        </dgm:presLayoutVars>
      </dgm:prSet>
      <dgm:spPr/>
    </dgm:pt>
    <dgm:pt modelId="{AC88F90F-DCB1-4871-93AF-C43EC200640B}" type="pres">
      <dgm:prSet presAssocID="{1A21F928-8047-4256-A164-59C5A4F0538B}" presName="desTx" presStyleLbl="alignAccFollowNode1" presStyleIdx="0" presStyleCnt="4">
        <dgm:presLayoutVars>
          <dgm:bulletEnabled val="1"/>
        </dgm:presLayoutVars>
      </dgm:prSet>
      <dgm:spPr/>
    </dgm:pt>
    <dgm:pt modelId="{C19C4FC1-3E0D-4EC7-884A-ED7D0084BB3B}" type="pres">
      <dgm:prSet presAssocID="{7C9208D0-238A-4484-9C39-9D75B3774ABA}" presName="space" presStyleCnt="0"/>
      <dgm:spPr/>
    </dgm:pt>
    <dgm:pt modelId="{D343544C-BD59-4A59-BE8C-A4E216551ADA}" type="pres">
      <dgm:prSet presAssocID="{C3795F51-1D1D-4262-919D-BD2524D7B139}" presName="composite" presStyleCnt="0"/>
      <dgm:spPr/>
    </dgm:pt>
    <dgm:pt modelId="{419C33B0-1E7B-4C9E-A666-30DDF00A8457}" type="pres">
      <dgm:prSet presAssocID="{C3795F51-1D1D-4262-919D-BD2524D7B139}" presName="parTx" presStyleLbl="alignNode1" presStyleIdx="1" presStyleCnt="4">
        <dgm:presLayoutVars>
          <dgm:chMax val="0"/>
          <dgm:chPref val="0"/>
          <dgm:bulletEnabled val="1"/>
        </dgm:presLayoutVars>
      </dgm:prSet>
      <dgm:spPr/>
    </dgm:pt>
    <dgm:pt modelId="{4EEA8645-CCB3-4B99-ABF7-E40ABA5AF6D5}" type="pres">
      <dgm:prSet presAssocID="{C3795F51-1D1D-4262-919D-BD2524D7B139}" presName="desTx" presStyleLbl="alignAccFollowNode1" presStyleIdx="1" presStyleCnt="4">
        <dgm:presLayoutVars>
          <dgm:bulletEnabled val="1"/>
        </dgm:presLayoutVars>
      </dgm:prSet>
      <dgm:spPr/>
    </dgm:pt>
    <dgm:pt modelId="{424BD6B6-11BF-4C61-A373-9D114E59B498}" type="pres">
      <dgm:prSet presAssocID="{642ABAE7-197C-4419-BCEA-FA8E3E3630FF}" presName="space" presStyleCnt="0"/>
      <dgm:spPr/>
    </dgm:pt>
    <dgm:pt modelId="{3426DC2E-094B-451C-96E7-7FFD784733FD}" type="pres">
      <dgm:prSet presAssocID="{D476027C-B89F-46E7-BB35-8619774E284D}" presName="composite" presStyleCnt="0"/>
      <dgm:spPr/>
    </dgm:pt>
    <dgm:pt modelId="{9BD12482-412D-4736-A967-EB213E5F0274}" type="pres">
      <dgm:prSet presAssocID="{D476027C-B89F-46E7-BB35-8619774E284D}" presName="parTx" presStyleLbl="alignNode1" presStyleIdx="2" presStyleCnt="4">
        <dgm:presLayoutVars>
          <dgm:chMax val="0"/>
          <dgm:chPref val="0"/>
          <dgm:bulletEnabled val="1"/>
        </dgm:presLayoutVars>
      </dgm:prSet>
      <dgm:spPr/>
    </dgm:pt>
    <dgm:pt modelId="{FD2C70A5-CADF-4A86-85CF-1BB631040A09}" type="pres">
      <dgm:prSet presAssocID="{D476027C-B89F-46E7-BB35-8619774E284D}" presName="desTx" presStyleLbl="alignAccFollowNode1" presStyleIdx="2" presStyleCnt="4">
        <dgm:presLayoutVars>
          <dgm:bulletEnabled val="1"/>
        </dgm:presLayoutVars>
      </dgm:prSet>
      <dgm:spPr/>
    </dgm:pt>
    <dgm:pt modelId="{BDB4610D-D086-4209-9A7A-C90E13050163}" type="pres">
      <dgm:prSet presAssocID="{95DDF5FD-C7AB-47A0-A6A5-5E76745D7805}" presName="space" presStyleCnt="0"/>
      <dgm:spPr/>
    </dgm:pt>
    <dgm:pt modelId="{5F884A43-35EB-4B26-BE58-4AEC9271EE33}" type="pres">
      <dgm:prSet presAssocID="{42D97971-0EF3-4C3B-858C-5C45846E0630}" presName="composite" presStyleCnt="0"/>
      <dgm:spPr/>
    </dgm:pt>
    <dgm:pt modelId="{985BC8CC-8123-4914-AFAA-1D1EA4FF5426}" type="pres">
      <dgm:prSet presAssocID="{42D97971-0EF3-4C3B-858C-5C45846E0630}" presName="parTx" presStyleLbl="alignNode1" presStyleIdx="3" presStyleCnt="4">
        <dgm:presLayoutVars>
          <dgm:chMax val="0"/>
          <dgm:chPref val="0"/>
          <dgm:bulletEnabled val="1"/>
        </dgm:presLayoutVars>
      </dgm:prSet>
      <dgm:spPr/>
    </dgm:pt>
    <dgm:pt modelId="{2C215BE5-7E81-45CC-8B02-700FAEF01AA3}" type="pres">
      <dgm:prSet presAssocID="{42D97971-0EF3-4C3B-858C-5C45846E0630}" presName="desTx" presStyleLbl="alignAccFollowNode1" presStyleIdx="3" presStyleCnt="4">
        <dgm:presLayoutVars>
          <dgm:bulletEnabled val="1"/>
        </dgm:presLayoutVars>
      </dgm:prSet>
      <dgm:spPr/>
    </dgm:pt>
  </dgm:ptLst>
  <dgm:cxnLst>
    <dgm:cxn modelId="{8FCA161D-D9E9-4EBD-993B-2B33BF92FE88}" srcId="{DEF22971-1D80-4164-A497-E26B1CE6A70F}" destId="{1A21F928-8047-4256-A164-59C5A4F0538B}" srcOrd="0" destOrd="0" parTransId="{D107291D-91DD-4185-8729-D420ACFAB7FD}" sibTransId="{7C9208D0-238A-4484-9C39-9D75B3774ABA}"/>
    <dgm:cxn modelId="{E49F453D-8ED8-4381-847B-DA907B5ED212}" srcId="{42D97971-0EF3-4C3B-858C-5C45846E0630}" destId="{1FE112D8-852F-433E-B398-A7C958EDD9AA}" srcOrd="0" destOrd="0" parTransId="{1AAC958D-646D-4749-A82F-D989071B3D15}" sibTransId="{7F268C69-4D2D-4B38-BCCD-462E64320C01}"/>
    <dgm:cxn modelId="{65B69D41-47DA-4CC4-9161-431A23E262A7}" srcId="{1A21F928-8047-4256-A164-59C5A4F0538B}" destId="{6EB4AAB9-99C7-4C35-9282-0ED59AC1CA14}" srcOrd="0" destOrd="0" parTransId="{4E24A8EE-27CD-46BF-BDEA-627DA5ADAFE6}" sibTransId="{D7EFB683-DB3E-4494-8B4C-61A9EF734C2A}"/>
    <dgm:cxn modelId="{7408B562-30E5-4D9A-AA96-478B797EFC6B}" type="presOf" srcId="{6EB4AAB9-99C7-4C35-9282-0ED59AC1CA14}" destId="{AC88F90F-DCB1-4871-93AF-C43EC200640B}" srcOrd="0" destOrd="0" presId="urn:microsoft.com/office/officeart/2005/8/layout/hList1"/>
    <dgm:cxn modelId="{F13F2E57-3E83-4C13-96D3-9B4BC14BF68C}" type="presOf" srcId="{987FE890-0621-48FE-BB05-87C1912A2755}" destId="{FD2C70A5-CADF-4A86-85CF-1BB631040A09}" srcOrd="0" destOrd="0" presId="urn:microsoft.com/office/officeart/2005/8/layout/hList1"/>
    <dgm:cxn modelId="{6627D77D-263F-44B3-957E-1DCC73AC715A}" type="presOf" srcId="{C3795F51-1D1D-4262-919D-BD2524D7B139}" destId="{419C33B0-1E7B-4C9E-A666-30DDF00A8457}" srcOrd="0" destOrd="0" presId="urn:microsoft.com/office/officeart/2005/8/layout/hList1"/>
    <dgm:cxn modelId="{33335982-0D0C-4647-8E4F-5009E97208CB}" type="presOf" srcId="{DEF22971-1D80-4164-A497-E26B1CE6A70F}" destId="{5A06EAD2-29E7-425F-A6BF-3E526B4DE308}" srcOrd="0" destOrd="0" presId="urn:microsoft.com/office/officeart/2005/8/layout/hList1"/>
    <dgm:cxn modelId="{6F089886-6822-4708-B5F8-787052EDAD91}" srcId="{DEF22971-1D80-4164-A497-E26B1CE6A70F}" destId="{C3795F51-1D1D-4262-919D-BD2524D7B139}" srcOrd="1" destOrd="0" parTransId="{541C47FF-B15C-44C6-8464-DE7BFE8C154B}" sibTransId="{642ABAE7-197C-4419-BCEA-FA8E3E3630FF}"/>
    <dgm:cxn modelId="{CC0F549C-F694-4F02-8F09-2A4F87BA684B}" srcId="{C3795F51-1D1D-4262-919D-BD2524D7B139}" destId="{F1DF3979-D09C-431B-8B70-110F3CEF89FC}" srcOrd="0" destOrd="0" parTransId="{4CA0C68B-C144-4F56-B6B9-14C1DE85A2E1}" sibTransId="{05466B04-D286-43CD-B322-AFF36A00A38B}"/>
    <dgm:cxn modelId="{38C4719F-F4FD-4B89-9A1D-E16D8415E2C0}" type="presOf" srcId="{F1DF3979-D09C-431B-8B70-110F3CEF89FC}" destId="{4EEA8645-CCB3-4B99-ABF7-E40ABA5AF6D5}" srcOrd="0" destOrd="0" presId="urn:microsoft.com/office/officeart/2005/8/layout/hList1"/>
    <dgm:cxn modelId="{C8475BB6-661C-43D5-AE9F-AA5B681C8B7A}" type="presOf" srcId="{1A21F928-8047-4256-A164-59C5A4F0538B}" destId="{728D0689-907F-4375-A0B3-C5800F309C63}" srcOrd="0" destOrd="0" presId="urn:microsoft.com/office/officeart/2005/8/layout/hList1"/>
    <dgm:cxn modelId="{B67158B7-A885-438E-A29C-3994B20C736E}" type="presOf" srcId="{1FE112D8-852F-433E-B398-A7C958EDD9AA}" destId="{2C215BE5-7E81-45CC-8B02-700FAEF01AA3}" srcOrd="0" destOrd="0" presId="urn:microsoft.com/office/officeart/2005/8/layout/hList1"/>
    <dgm:cxn modelId="{0C0C6CD8-102D-4501-BC36-4F0CBBA9C8B8}" type="presOf" srcId="{D476027C-B89F-46E7-BB35-8619774E284D}" destId="{9BD12482-412D-4736-A967-EB213E5F0274}" srcOrd="0" destOrd="0" presId="urn:microsoft.com/office/officeart/2005/8/layout/hList1"/>
    <dgm:cxn modelId="{7335FCDF-F3F5-4A53-809E-88DDBA3EA4AC}" srcId="{D476027C-B89F-46E7-BB35-8619774E284D}" destId="{987FE890-0621-48FE-BB05-87C1912A2755}" srcOrd="0" destOrd="0" parTransId="{2E7FAA91-1456-4FD2-B104-D1CDD39D26AC}" sibTransId="{6B4563A8-5EAF-4961-B739-6C38389C8533}"/>
    <dgm:cxn modelId="{48004AE1-4B3D-48B1-A2D8-458B11E4459F}" srcId="{DEF22971-1D80-4164-A497-E26B1CE6A70F}" destId="{D476027C-B89F-46E7-BB35-8619774E284D}" srcOrd="2" destOrd="0" parTransId="{460D08C3-C335-4C81-9B93-3F065ABB59E0}" sibTransId="{95DDF5FD-C7AB-47A0-A6A5-5E76745D7805}"/>
    <dgm:cxn modelId="{F30F59E4-F3F8-4BD2-AC39-D6567BF0B02E}" srcId="{DEF22971-1D80-4164-A497-E26B1CE6A70F}" destId="{42D97971-0EF3-4C3B-858C-5C45846E0630}" srcOrd="3" destOrd="0" parTransId="{6827DF3F-6662-460C-A2E7-289A20A3E4EB}" sibTransId="{D0EA21F4-7D91-470F-8B79-77D8FBDCFB8D}"/>
    <dgm:cxn modelId="{5FA34CF8-086F-4A63-83D6-525E8FF560AA}" type="presOf" srcId="{42D97971-0EF3-4C3B-858C-5C45846E0630}" destId="{985BC8CC-8123-4914-AFAA-1D1EA4FF5426}" srcOrd="0" destOrd="0" presId="urn:microsoft.com/office/officeart/2005/8/layout/hList1"/>
    <dgm:cxn modelId="{8AEECF69-B614-414B-B5F2-6A43E971B157}" type="presParOf" srcId="{5A06EAD2-29E7-425F-A6BF-3E526B4DE308}" destId="{489D3562-E769-417A-8A3F-6BB551D1E531}" srcOrd="0" destOrd="0" presId="urn:microsoft.com/office/officeart/2005/8/layout/hList1"/>
    <dgm:cxn modelId="{2E2D4417-2066-4786-9816-D981EB75BFC7}" type="presParOf" srcId="{489D3562-E769-417A-8A3F-6BB551D1E531}" destId="{728D0689-907F-4375-A0B3-C5800F309C63}" srcOrd="0" destOrd="0" presId="urn:microsoft.com/office/officeart/2005/8/layout/hList1"/>
    <dgm:cxn modelId="{A7A10F4E-048B-45FB-9B70-41615985E0A2}" type="presParOf" srcId="{489D3562-E769-417A-8A3F-6BB551D1E531}" destId="{AC88F90F-DCB1-4871-93AF-C43EC200640B}" srcOrd="1" destOrd="0" presId="urn:microsoft.com/office/officeart/2005/8/layout/hList1"/>
    <dgm:cxn modelId="{4F75B41C-5256-4961-B38A-BC7A24740875}" type="presParOf" srcId="{5A06EAD2-29E7-425F-A6BF-3E526B4DE308}" destId="{C19C4FC1-3E0D-4EC7-884A-ED7D0084BB3B}" srcOrd="1" destOrd="0" presId="urn:microsoft.com/office/officeart/2005/8/layout/hList1"/>
    <dgm:cxn modelId="{8888A13D-E971-4036-A664-02B4D8A5388B}" type="presParOf" srcId="{5A06EAD2-29E7-425F-A6BF-3E526B4DE308}" destId="{D343544C-BD59-4A59-BE8C-A4E216551ADA}" srcOrd="2" destOrd="0" presId="urn:microsoft.com/office/officeart/2005/8/layout/hList1"/>
    <dgm:cxn modelId="{7A6B9B4C-D547-41D8-B643-A99E2F4556D5}" type="presParOf" srcId="{D343544C-BD59-4A59-BE8C-A4E216551ADA}" destId="{419C33B0-1E7B-4C9E-A666-30DDF00A8457}" srcOrd="0" destOrd="0" presId="urn:microsoft.com/office/officeart/2005/8/layout/hList1"/>
    <dgm:cxn modelId="{88E81BAB-7692-4750-AF68-CFCB4251E35B}" type="presParOf" srcId="{D343544C-BD59-4A59-BE8C-A4E216551ADA}" destId="{4EEA8645-CCB3-4B99-ABF7-E40ABA5AF6D5}" srcOrd="1" destOrd="0" presId="urn:microsoft.com/office/officeart/2005/8/layout/hList1"/>
    <dgm:cxn modelId="{DBCC53C5-DB2B-451B-9580-5231EA5D1EC7}" type="presParOf" srcId="{5A06EAD2-29E7-425F-A6BF-3E526B4DE308}" destId="{424BD6B6-11BF-4C61-A373-9D114E59B498}" srcOrd="3" destOrd="0" presId="urn:microsoft.com/office/officeart/2005/8/layout/hList1"/>
    <dgm:cxn modelId="{5B2EAEF2-6EB6-45B6-91C5-6125FD3F7A5E}" type="presParOf" srcId="{5A06EAD2-29E7-425F-A6BF-3E526B4DE308}" destId="{3426DC2E-094B-451C-96E7-7FFD784733FD}" srcOrd="4" destOrd="0" presId="urn:microsoft.com/office/officeart/2005/8/layout/hList1"/>
    <dgm:cxn modelId="{0B1290EB-DE13-4A5B-B4E1-88D93F950656}" type="presParOf" srcId="{3426DC2E-094B-451C-96E7-7FFD784733FD}" destId="{9BD12482-412D-4736-A967-EB213E5F0274}" srcOrd="0" destOrd="0" presId="urn:microsoft.com/office/officeart/2005/8/layout/hList1"/>
    <dgm:cxn modelId="{543E5A10-A49C-4AAC-B2B7-AC9553963DE1}" type="presParOf" srcId="{3426DC2E-094B-451C-96E7-7FFD784733FD}" destId="{FD2C70A5-CADF-4A86-85CF-1BB631040A09}" srcOrd="1" destOrd="0" presId="urn:microsoft.com/office/officeart/2005/8/layout/hList1"/>
    <dgm:cxn modelId="{FA21BCC3-B974-4EF8-9EEA-6FAC3A9270B3}" type="presParOf" srcId="{5A06EAD2-29E7-425F-A6BF-3E526B4DE308}" destId="{BDB4610D-D086-4209-9A7A-C90E13050163}" srcOrd="5" destOrd="0" presId="urn:microsoft.com/office/officeart/2005/8/layout/hList1"/>
    <dgm:cxn modelId="{0BF5B062-6EFE-4B74-9100-92AE03A46ABC}" type="presParOf" srcId="{5A06EAD2-29E7-425F-A6BF-3E526B4DE308}" destId="{5F884A43-35EB-4B26-BE58-4AEC9271EE33}" srcOrd="6" destOrd="0" presId="urn:microsoft.com/office/officeart/2005/8/layout/hList1"/>
    <dgm:cxn modelId="{410150E8-5EFB-4D40-9001-5F1DB3460E40}" type="presParOf" srcId="{5F884A43-35EB-4B26-BE58-4AEC9271EE33}" destId="{985BC8CC-8123-4914-AFAA-1D1EA4FF5426}" srcOrd="0" destOrd="0" presId="urn:microsoft.com/office/officeart/2005/8/layout/hList1"/>
    <dgm:cxn modelId="{7003B8E6-22EF-44FB-9A88-D051EBB8A556}" type="presParOf" srcId="{5F884A43-35EB-4B26-BE58-4AEC9271EE33}" destId="{2C215BE5-7E81-45CC-8B02-700FAEF01AA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1FF31D9-14F0-410C-B9C6-4B26E03E7B04}">
      <dgm:prSet custT="1"/>
      <dgm:spPr/>
      <dgm:t>
        <a:bodyPr/>
        <a:lstStyle/>
        <a:p>
          <a:r>
            <a:rPr lang="en-US" sz="2400" b="1" dirty="0"/>
            <a:t>A</a:t>
          </a:r>
          <a:r>
            <a:rPr lang="en-US" sz="2400" dirty="0"/>
            <a:t> - Atomicity</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9925BA71-7AA0-4072-81DE-0605A63993C2}">
      <dgm:prSet custT="1"/>
      <dgm:spPr/>
      <dgm:t>
        <a:bodyPr/>
        <a:lstStyle/>
        <a:p>
          <a:r>
            <a:rPr lang="en-US" sz="1800" dirty="0"/>
            <a:t>A transaction is either fully completed or not at all.</a:t>
          </a:r>
        </a:p>
      </dgm:t>
    </dgm:pt>
    <dgm:pt modelId="{84374D7F-0415-41B0-87B6-A39AE2AAC4FF}" type="parTrans" cxnId="{BC8C64E3-0329-4911-95CD-C978689E4783}">
      <dgm:prSet/>
      <dgm:spPr/>
      <dgm:t>
        <a:bodyPr/>
        <a:lstStyle/>
        <a:p>
          <a:endParaRPr lang="en-US" sz="1800"/>
        </a:p>
      </dgm:t>
    </dgm:pt>
    <dgm:pt modelId="{57215528-0653-4FBA-86FA-47488CF495FC}" type="sibTrans" cxnId="{BC8C64E3-0329-4911-95CD-C978689E4783}">
      <dgm:prSet/>
      <dgm:spPr/>
      <dgm:t>
        <a:bodyPr/>
        <a:lstStyle/>
        <a:p>
          <a:endParaRPr lang="en-US" sz="1800"/>
        </a:p>
      </dgm:t>
    </dgm:pt>
    <dgm:pt modelId="{382C8B77-7E48-4315-87BA-E0E3352FB38E}">
      <dgm:prSet custT="1"/>
      <dgm:spPr/>
      <dgm:t>
        <a:bodyPr/>
        <a:lstStyle/>
        <a:p>
          <a:r>
            <a:rPr lang="en-US" sz="2400" b="1" dirty="0"/>
            <a:t>C</a:t>
          </a:r>
          <a:r>
            <a:rPr lang="en-US" sz="2400" dirty="0"/>
            <a:t> - Consistency</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FAD8EBC6-D9AE-43C9-8012-A2C9E0CD842F}">
      <dgm:prSet custT="1"/>
      <dgm:spPr/>
      <dgm:t>
        <a:bodyPr/>
        <a:lstStyle/>
        <a:p>
          <a:r>
            <a:rPr lang="en-US" sz="1800" dirty="0"/>
            <a:t>A transaction must leave data in a consistent state.</a:t>
          </a:r>
        </a:p>
      </dgm:t>
    </dgm:pt>
    <dgm:pt modelId="{B1AAF3A3-9D5B-4E02-A757-E405A5C6A124}" type="parTrans" cxnId="{BBCB9FFC-55EA-4584-A3D9-9BA0FF329B9E}">
      <dgm:prSet/>
      <dgm:spPr/>
      <dgm:t>
        <a:bodyPr/>
        <a:lstStyle/>
        <a:p>
          <a:endParaRPr lang="en-US" sz="1800"/>
        </a:p>
      </dgm:t>
    </dgm:pt>
    <dgm:pt modelId="{98FDB9EE-6F55-488B-83F0-6EBBC403486D}" type="sibTrans" cxnId="{BBCB9FFC-55EA-4584-A3D9-9BA0FF329B9E}">
      <dgm:prSet/>
      <dgm:spPr/>
      <dgm:t>
        <a:bodyPr/>
        <a:lstStyle/>
        <a:p>
          <a:endParaRPr lang="en-US" sz="1800"/>
        </a:p>
      </dgm:t>
    </dgm:pt>
    <dgm:pt modelId="{3D629FD4-E377-4801-8EB2-F02E0CAF7CB6}">
      <dgm:prSet custT="1"/>
      <dgm:spPr/>
      <dgm:t>
        <a:bodyPr/>
        <a:lstStyle/>
        <a:p>
          <a:r>
            <a:rPr lang="en-US" sz="2400" b="1" dirty="0"/>
            <a:t>I</a:t>
          </a:r>
          <a:r>
            <a:rPr lang="en-US" sz="2400" dirty="0"/>
            <a:t> - Isolation</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2973953C-AC60-43DD-993C-ADBA4BB07F0E}">
      <dgm:prSet custT="1"/>
      <dgm:spPr/>
      <dgm:t>
        <a:bodyPr/>
        <a:lstStyle/>
        <a:p>
          <a:r>
            <a:rPr lang="en-US" sz="1800" dirty="0"/>
            <a:t>Changes made by a transaction must be isolated from other concurrent transactions.</a:t>
          </a:r>
        </a:p>
      </dgm:t>
    </dgm:pt>
    <dgm:pt modelId="{1A506B5E-A982-4775-932E-13B34DB12339}" type="parTrans" cxnId="{3873BE06-37D5-48E0-B31B-6E667536CA0C}">
      <dgm:prSet/>
      <dgm:spPr/>
      <dgm:t>
        <a:bodyPr/>
        <a:lstStyle/>
        <a:p>
          <a:endParaRPr lang="en-US" sz="1800"/>
        </a:p>
      </dgm:t>
    </dgm:pt>
    <dgm:pt modelId="{D1468E78-F473-49BC-9531-703C36F8F86A}" type="sibTrans" cxnId="{3873BE06-37D5-48E0-B31B-6E667536CA0C}">
      <dgm:prSet/>
      <dgm:spPr/>
      <dgm:t>
        <a:bodyPr/>
        <a:lstStyle/>
        <a:p>
          <a:endParaRPr lang="en-US" sz="1800"/>
        </a:p>
      </dgm:t>
    </dgm:pt>
    <dgm:pt modelId="{7C630588-5CB9-4D71-96D5-089403AC2FB5}">
      <dgm:prSet custT="1"/>
      <dgm:spPr/>
      <dgm:t>
        <a:bodyPr/>
        <a:lstStyle/>
        <a:p>
          <a:r>
            <a:rPr lang="en-US" sz="2400" b="1" dirty="0"/>
            <a:t>D</a:t>
          </a:r>
          <a:r>
            <a:rPr lang="en-US" sz="2400" dirty="0"/>
            <a:t> - Durability</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430A2234-86AD-4880-85CF-7F22466A19F4}">
      <dgm:prSet custT="1"/>
      <dgm:spPr/>
      <dgm:t>
        <a:bodyPr/>
        <a:lstStyle/>
        <a:p>
          <a:r>
            <a:rPr lang="en-US" sz="1800" dirty="0"/>
            <a:t>The modifications persist even in the event of a system failure.</a:t>
          </a:r>
        </a:p>
      </dgm:t>
    </dgm:pt>
    <dgm:pt modelId="{44D2AF55-4E81-4A86-8E81-4E694C58B21A}" type="parTrans" cxnId="{029D1C0D-B867-4F5F-B681-58B115A4733A}">
      <dgm:prSet/>
      <dgm:spPr/>
      <dgm:t>
        <a:bodyPr/>
        <a:lstStyle/>
        <a:p>
          <a:endParaRPr lang="en-US" sz="1800"/>
        </a:p>
      </dgm:t>
    </dgm:pt>
    <dgm:pt modelId="{09807605-5396-482C-A545-912CA949196E}" type="sibTrans" cxnId="{029D1C0D-B867-4F5F-B681-58B115A4733A}">
      <dgm:prSet/>
      <dgm:spPr/>
      <dgm:t>
        <a:bodyPr/>
        <a:lstStyle/>
        <a:p>
          <a:endParaRPr lang="en-US" sz="1800"/>
        </a:p>
      </dgm:t>
    </dgm:pt>
    <dgm:pt modelId="{E8BFB79F-C68A-4D94-9ED6-F671D0A14C2F}" type="pres">
      <dgm:prSet presAssocID="{506C6E13-5CD1-4F4B-820A-A731BC834290}" presName="linear" presStyleCnt="0">
        <dgm:presLayoutVars>
          <dgm:dir/>
          <dgm:animLvl val="lvl"/>
          <dgm:resizeHandles val="exact"/>
        </dgm:presLayoutVars>
      </dgm:prSet>
      <dgm:spPr/>
    </dgm:pt>
    <dgm:pt modelId="{B6BEDE8A-2EE8-46CB-BD48-CAC88D36AD74}" type="pres">
      <dgm:prSet presAssocID="{61FF31D9-14F0-410C-B9C6-4B26E03E7B04}" presName="parentLin" presStyleCnt="0"/>
      <dgm:spPr/>
    </dgm:pt>
    <dgm:pt modelId="{8B624EC8-A3D6-4B02-8B35-20328F1C98EC}" type="pres">
      <dgm:prSet presAssocID="{61FF31D9-14F0-410C-B9C6-4B26E03E7B04}" presName="parentLeftMargin" presStyleLbl="node1" presStyleIdx="0" presStyleCnt="4"/>
      <dgm:spPr/>
    </dgm:pt>
    <dgm:pt modelId="{9FF00FAF-A430-4F52-AB25-3C1052DDEB4F}" type="pres">
      <dgm:prSet presAssocID="{61FF31D9-14F0-410C-B9C6-4B26E03E7B04}" presName="parentText" presStyleLbl="node1" presStyleIdx="0" presStyleCnt="4">
        <dgm:presLayoutVars>
          <dgm:chMax val="0"/>
          <dgm:bulletEnabled val="1"/>
        </dgm:presLayoutVars>
      </dgm:prSet>
      <dgm:spPr/>
    </dgm:pt>
    <dgm:pt modelId="{34316357-372A-48E9-BEFA-4E5977E597FD}" type="pres">
      <dgm:prSet presAssocID="{61FF31D9-14F0-410C-B9C6-4B26E03E7B04}" presName="negativeSpace" presStyleCnt="0"/>
      <dgm:spPr/>
    </dgm:pt>
    <dgm:pt modelId="{52369043-0083-41DF-961A-69FF4BEF0AF9}" type="pres">
      <dgm:prSet presAssocID="{61FF31D9-14F0-410C-B9C6-4B26E03E7B04}" presName="childText" presStyleLbl="conFgAcc1" presStyleIdx="0" presStyleCnt="4">
        <dgm:presLayoutVars>
          <dgm:bulletEnabled val="1"/>
        </dgm:presLayoutVars>
      </dgm:prSet>
      <dgm:spPr/>
    </dgm:pt>
    <dgm:pt modelId="{45DCE2E4-9C2D-4839-8852-2E9F6EDD6470}" type="pres">
      <dgm:prSet presAssocID="{11DF13D0-BF96-4573-B7A4-98B4A55ABB72}" presName="spaceBetweenRectangles" presStyleCnt="0"/>
      <dgm:spPr/>
    </dgm:pt>
    <dgm:pt modelId="{A2A43938-00DC-4150-9F4C-02929ECFC588}" type="pres">
      <dgm:prSet presAssocID="{382C8B77-7E48-4315-87BA-E0E3352FB38E}" presName="parentLin" presStyleCnt="0"/>
      <dgm:spPr/>
    </dgm:pt>
    <dgm:pt modelId="{FA1019FF-D0EE-47F3-8FB3-2FE382DB2011}" type="pres">
      <dgm:prSet presAssocID="{382C8B77-7E48-4315-87BA-E0E3352FB38E}" presName="parentLeftMargin" presStyleLbl="node1" presStyleIdx="0" presStyleCnt="4"/>
      <dgm:spPr/>
    </dgm:pt>
    <dgm:pt modelId="{28521572-6FA0-4E96-B988-AFD0BA98348C}" type="pres">
      <dgm:prSet presAssocID="{382C8B77-7E48-4315-87BA-E0E3352FB38E}" presName="parentText" presStyleLbl="node1" presStyleIdx="1" presStyleCnt="4">
        <dgm:presLayoutVars>
          <dgm:chMax val="0"/>
          <dgm:bulletEnabled val="1"/>
        </dgm:presLayoutVars>
      </dgm:prSet>
      <dgm:spPr/>
    </dgm:pt>
    <dgm:pt modelId="{A303C4F5-952C-49C5-BCB5-2E5232F13DAA}" type="pres">
      <dgm:prSet presAssocID="{382C8B77-7E48-4315-87BA-E0E3352FB38E}" presName="negativeSpace" presStyleCnt="0"/>
      <dgm:spPr/>
    </dgm:pt>
    <dgm:pt modelId="{3BC3D696-87DD-47B5-8AC4-79DA9C6DF051}" type="pres">
      <dgm:prSet presAssocID="{382C8B77-7E48-4315-87BA-E0E3352FB38E}" presName="childText" presStyleLbl="conFgAcc1" presStyleIdx="1" presStyleCnt="4">
        <dgm:presLayoutVars>
          <dgm:bulletEnabled val="1"/>
        </dgm:presLayoutVars>
      </dgm:prSet>
      <dgm:spPr/>
    </dgm:pt>
    <dgm:pt modelId="{5DD18848-A31F-4AAB-993C-DCACC008B5A7}" type="pres">
      <dgm:prSet presAssocID="{B727E4F2-77CF-4587-920C-89161713C05E}" presName="spaceBetweenRectangles" presStyleCnt="0"/>
      <dgm:spPr/>
    </dgm:pt>
    <dgm:pt modelId="{6CC05309-AC2E-417D-8C2B-FA6309038F79}" type="pres">
      <dgm:prSet presAssocID="{3D629FD4-E377-4801-8EB2-F02E0CAF7CB6}" presName="parentLin" presStyleCnt="0"/>
      <dgm:spPr/>
    </dgm:pt>
    <dgm:pt modelId="{4CC2A929-B475-4A3B-BDFA-4E06D5A17202}" type="pres">
      <dgm:prSet presAssocID="{3D629FD4-E377-4801-8EB2-F02E0CAF7CB6}" presName="parentLeftMargin" presStyleLbl="node1" presStyleIdx="1" presStyleCnt="4"/>
      <dgm:spPr/>
    </dgm:pt>
    <dgm:pt modelId="{BAB47458-479F-4E92-A55F-13D1F22C92AC}" type="pres">
      <dgm:prSet presAssocID="{3D629FD4-E377-4801-8EB2-F02E0CAF7CB6}" presName="parentText" presStyleLbl="node1" presStyleIdx="2" presStyleCnt="4">
        <dgm:presLayoutVars>
          <dgm:chMax val="0"/>
          <dgm:bulletEnabled val="1"/>
        </dgm:presLayoutVars>
      </dgm:prSet>
      <dgm:spPr/>
    </dgm:pt>
    <dgm:pt modelId="{F483C7C5-067B-4C78-9DE7-C3C2CE440AD9}" type="pres">
      <dgm:prSet presAssocID="{3D629FD4-E377-4801-8EB2-F02E0CAF7CB6}" presName="negativeSpace" presStyleCnt="0"/>
      <dgm:spPr/>
    </dgm:pt>
    <dgm:pt modelId="{3A75188F-55C7-4C4C-9A0F-B5B59C1C5A03}" type="pres">
      <dgm:prSet presAssocID="{3D629FD4-E377-4801-8EB2-F02E0CAF7CB6}" presName="childText" presStyleLbl="conFgAcc1" presStyleIdx="2" presStyleCnt="4">
        <dgm:presLayoutVars>
          <dgm:bulletEnabled val="1"/>
        </dgm:presLayoutVars>
      </dgm:prSet>
      <dgm:spPr/>
    </dgm:pt>
    <dgm:pt modelId="{5CF08E73-34B9-42D3-B172-F469094D8972}" type="pres">
      <dgm:prSet presAssocID="{40827AA9-83D0-41AB-8D9E-CA8EAC9CB0F9}" presName="spaceBetweenRectangles" presStyleCnt="0"/>
      <dgm:spPr/>
    </dgm:pt>
    <dgm:pt modelId="{FFC461F6-8717-4737-9511-8DE88B1711AA}" type="pres">
      <dgm:prSet presAssocID="{7C630588-5CB9-4D71-96D5-089403AC2FB5}" presName="parentLin" presStyleCnt="0"/>
      <dgm:spPr/>
    </dgm:pt>
    <dgm:pt modelId="{92E3B90D-9A92-4EE6-B1E1-0FA49224B76B}" type="pres">
      <dgm:prSet presAssocID="{7C630588-5CB9-4D71-96D5-089403AC2FB5}" presName="parentLeftMargin" presStyleLbl="node1" presStyleIdx="2" presStyleCnt="4"/>
      <dgm:spPr/>
    </dgm:pt>
    <dgm:pt modelId="{851C09E9-3518-4482-BB7B-DDB677BD502B}" type="pres">
      <dgm:prSet presAssocID="{7C630588-5CB9-4D71-96D5-089403AC2FB5}" presName="parentText" presStyleLbl="node1" presStyleIdx="3" presStyleCnt="4">
        <dgm:presLayoutVars>
          <dgm:chMax val="0"/>
          <dgm:bulletEnabled val="1"/>
        </dgm:presLayoutVars>
      </dgm:prSet>
      <dgm:spPr/>
    </dgm:pt>
    <dgm:pt modelId="{5AB8B9C6-9817-40D5-8C7F-ACA048871807}" type="pres">
      <dgm:prSet presAssocID="{7C630588-5CB9-4D71-96D5-089403AC2FB5}" presName="negativeSpace" presStyleCnt="0"/>
      <dgm:spPr/>
    </dgm:pt>
    <dgm:pt modelId="{3B884864-115A-4C2F-8C11-84CA1B3DC4BE}" type="pres">
      <dgm:prSet presAssocID="{7C630588-5CB9-4D71-96D5-089403AC2FB5}" presName="childText" presStyleLbl="conFgAcc1" presStyleIdx="3" presStyleCnt="4">
        <dgm:presLayoutVars>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C318A03-710E-4575-ABF1-1DFD075C5A8B}" type="presOf" srcId="{61FF31D9-14F0-410C-B9C6-4B26E03E7B04}" destId="{9FF00FAF-A430-4F52-AB25-3C1052DDEB4F}" srcOrd="1" destOrd="0" presId="urn:microsoft.com/office/officeart/2005/8/layout/list1"/>
    <dgm:cxn modelId="{3873BE06-37D5-48E0-B31B-6E667536CA0C}" srcId="{3D629FD4-E377-4801-8EB2-F02E0CAF7CB6}" destId="{2973953C-AC60-43DD-993C-ADBA4BB07F0E}" srcOrd="0" destOrd="0" parTransId="{1A506B5E-A982-4775-932E-13B34DB12339}" sibTransId="{D1468E78-F473-49BC-9531-703C36F8F86A}"/>
    <dgm:cxn modelId="{029D1C0D-B867-4F5F-B681-58B115A4733A}" srcId="{7C630588-5CB9-4D71-96D5-089403AC2FB5}" destId="{430A2234-86AD-4880-85CF-7F22466A19F4}" srcOrd="0" destOrd="0" parTransId="{44D2AF55-4E81-4A86-8E81-4E694C58B21A}" sibTransId="{09807605-5396-482C-A545-912CA949196E}"/>
    <dgm:cxn modelId="{4850A716-D6C3-4273-A2D2-8073D330D2DA}" type="presOf" srcId="{2973953C-AC60-43DD-993C-ADBA4BB07F0E}" destId="{3A75188F-55C7-4C4C-9A0F-B5B59C1C5A03}" srcOrd="0" destOrd="0" presId="urn:microsoft.com/office/officeart/2005/8/layout/list1"/>
    <dgm:cxn modelId="{FEA5635B-5F33-42BA-9A94-D2E545C471F1}" type="presOf" srcId="{506C6E13-5CD1-4F4B-820A-A731BC834290}" destId="{E8BFB79F-C68A-4D94-9ED6-F671D0A14C2F}" srcOrd="0" destOrd="0" presId="urn:microsoft.com/office/officeart/2005/8/layout/list1"/>
    <dgm:cxn modelId="{82F53A44-FA23-420F-9ECF-C68E62697E35}" srcId="{506C6E13-5CD1-4F4B-820A-A731BC834290}" destId="{3D629FD4-E377-4801-8EB2-F02E0CAF7CB6}" srcOrd="2" destOrd="0" parTransId="{BF42ADF7-9191-44E1-9E6B-5382659AC3D7}" sibTransId="{40827AA9-83D0-41AB-8D9E-CA8EAC9CB0F9}"/>
    <dgm:cxn modelId="{6C503B54-58C8-4E64-8A24-074917CA2A9B}" type="presOf" srcId="{3D629FD4-E377-4801-8EB2-F02E0CAF7CB6}" destId="{BAB47458-479F-4E92-A55F-13D1F22C92AC}" srcOrd="1" destOrd="0" presId="urn:microsoft.com/office/officeart/2005/8/layout/list1"/>
    <dgm:cxn modelId="{A07A755A-0E9C-49E2-8EDC-5E4A70BE1146}" type="presOf" srcId="{3D629FD4-E377-4801-8EB2-F02E0CAF7CB6}" destId="{4CC2A929-B475-4A3B-BDFA-4E06D5A17202}" srcOrd="0" destOrd="0" presId="urn:microsoft.com/office/officeart/2005/8/layout/list1"/>
    <dgm:cxn modelId="{99CC488B-4D48-4557-ACB3-8E602956D9BF}" type="presOf" srcId="{382C8B77-7E48-4315-87BA-E0E3352FB38E}" destId="{28521572-6FA0-4E96-B988-AFD0BA98348C}" srcOrd="1" destOrd="0" presId="urn:microsoft.com/office/officeart/2005/8/layout/list1"/>
    <dgm:cxn modelId="{149AFC90-B348-4FEC-8037-3B9005AC9EE6}" type="presOf" srcId="{430A2234-86AD-4880-85CF-7F22466A19F4}" destId="{3B884864-115A-4C2F-8C11-84CA1B3DC4BE}" srcOrd="0" destOrd="0" presId="urn:microsoft.com/office/officeart/2005/8/layout/list1"/>
    <dgm:cxn modelId="{AFFCA2A5-625C-4AB5-B9B8-DAAE064EB436}" type="presOf" srcId="{FAD8EBC6-D9AE-43C9-8012-A2C9E0CD842F}" destId="{3BC3D696-87DD-47B5-8AC4-79DA9C6DF051}" srcOrd="0" destOrd="0" presId="urn:microsoft.com/office/officeart/2005/8/layout/list1"/>
    <dgm:cxn modelId="{F142A9B8-D78A-4560-9B13-EE18E47A9B54}" type="presOf" srcId="{9925BA71-7AA0-4072-81DE-0605A63993C2}" destId="{52369043-0083-41DF-961A-69FF4BEF0AF9}" srcOrd="0" destOrd="0" presId="urn:microsoft.com/office/officeart/2005/8/layout/list1"/>
    <dgm:cxn modelId="{960522BF-4C35-4D8A-B57F-382F60AFA19C}" type="presOf" srcId="{61FF31D9-14F0-410C-B9C6-4B26E03E7B04}" destId="{8B624EC8-A3D6-4B02-8B35-20328F1C98EC}" srcOrd="0" destOrd="0" presId="urn:microsoft.com/office/officeart/2005/8/layout/list1"/>
    <dgm:cxn modelId="{B718E3C0-99C3-4B96-A181-5B7BE0A486A2}" type="presOf" srcId="{7C630588-5CB9-4D71-96D5-089403AC2FB5}" destId="{851C09E9-3518-4482-BB7B-DDB677BD502B}" srcOrd="1" destOrd="0" presId="urn:microsoft.com/office/officeart/2005/8/layout/list1"/>
    <dgm:cxn modelId="{1289C6D1-1FE1-42C3-BE65-35EBF56762BF}" srcId="{506C6E13-5CD1-4F4B-820A-A731BC834290}" destId="{7C630588-5CB9-4D71-96D5-089403AC2FB5}" srcOrd="3" destOrd="0" parTransId="{339312F6-7DAA-41E3-BD99-8F37B921EBB4}" sibTransId="{178B2CA2-6F5E-4ABA-BEA1-C46F19CE8F5C}"/>
    <dgm:cxn modelId="{D77B51D9-EF0E-4C86-BF22-61D30871FE28}" type="presOf" srcId="{7C630588-5CB9-4D71-96D5-089403AC2FB5}" destId="{92E3B90D-9A92-4EE6-B1E1-0FA49224B76B}" srcOrd="0" destOrd="0" presId="urn:microsoft.com/office/officeart/2005/8/layout/list1"/>
    <dgm:cxn modelId="{D735E7DC-B6B4-4422-99F7-B0D7632E5484}" srcId="{506C6E13-5CD1-4F4B-820A-A731BC834290}" destId="{382C8B77-7E48-4315-87BA-E0E3352FB38E}" srcOrd="1" destOrd="0" parTransId="{D1F35AA1-5119-44CD-BCD7-BFE409C3695C}" sibTransId="{B727E4F2-77CF-4587-920C-89161713C05E}"/>
    <dgm:cxn modelId="{BC8C64E3-0329-4911-95CD-C978689E4783}" srcId="{61FF31D9-14F0-410C-B9C6-4B26E03E7B04}" destId="{9925BA71-7AA0-4072-81DE-0605A63993C2}" srcOrd="0" destOrd="0" parTransId="{84374D7F-0415-41B0-87B6-A39AE2AAC4FF}" sibTransId="{57215528-0653-4FBA-86FA-47488CF495FC}"/>
    <dgm:cxn modelId="{BBCB9FFC-55EA-4584-A3D9-9BA0FF329B9E}" srcId="{382C8B77-7E48-4315-87BA-E0E3352FB38E}" destId="{FAD8EBC6-D9AE-43C9-8012-A2C9E0CD842F}" srcOrd="0" destOrd="0" parTransId="{B1AAF3A3-9D5B-4E02-A757-E405A5C6A124}" sibTransId="{98FDB9EE-6F55-488B-83F0-6EBBC403486D}"/>
    <dgm:cxn modelId="{B7154CFE-DBE5-49A7-8FA4-C3B6CA122CB6}" type="presOf" srcId="{382C8B77-7E48-4315-87BA-E0E3352FB38E}" destId="{FA1019FF-D0EE-47F3-8FB3-2FE382DB2011}" srcOrd="0" destOrd="0" presId="urn:microsoft.com/office/officeart/2005/8/layout/list1"/>
    <dgm:cxn modelId="{B6294280-1CCC-49C9-9E60-229DA7C7505B}" type="presParOf" srcId="{E8BFB79F-C68A-4D94-9ED6-F671D0A14C2F}" destId="{B6BEDE8A-2EE8-46CB-BD48-CAC88D36AD74}" srcOrd="0" destOrd="0" presId="urn:microsoft.com/office/officeart/2005/8/layout/list1"/>
    <dgm:cxn modelId="{833E37EE-35FB-486E-ACBE-45B8FA8A16F1}" type="presParOf" srcId="{B6BEDE8A-2EE8-46CB-BD48-CAC88D36AD74}" destId="{8B624EC8-A3D6-4B02-8B35-20328F1C98EC}" srcOrd="0" destOrd="0" presId="urn:microsoft.com/office/officeart/2005/8/layout/list1"/>
    <dgm:cxn modelId="{F1058C6B-2C98-4799-8B80-2F8DCC585732}" type="presParOf" srcId="{B6BEDE8A-2EE8-46CB-BD48-CAC88D36AD74}" destId="{9FF00FAF-A430-4F52-AB25-3C1052DDEB4F}" srcOrd="1" destOrd="0" presId="urn:microsoft.com/office/officeart/2005/8/layout/list1"/>
    <dgm:cxn modelId="{1D0A18C6-ECEB-4D37-833A-146178F4B636}" type="presParOf" srcId="{E8BFB79F-C68A-4D94-9ED6-F671D0A14C2F}" destId="{34316357-372A-48E9-BEFA-4E5977E597FD}" srcOrd="1" destOrd="0" presId="urn:microsoft.com/office/officeart/2005/8/layout/list1"/>
    <dgm:cxn modelId="{E108B955-F590-4C30-84FF-AFE47083AF34}" type="presParOf" srcId="{E8BFB79F-C68A-4D94-9ED6-F671D0A14C2F}" destId="{52369043-0083-41DF-961A-69FF4BEF0AF9}" srcOrd="2" destOrd="0" presId="urn:microsoft.com/office/officeart/2005/8/layout/list1"/>
    <dgm:cxn modelId="{96684B0C-E327-477E-9ACB-322496C4C879}" type="presParOf" srcId="{E8BFB79F-C68A-4D94-9ED6-F671D0A14C2F}" destId="{45DCE2E4-9C2D-4839-8852-2E9F6EDD6470}" srcOrd="3" destOrd="0" presId="urn:microsoft.com/office/officeart/2005/8/layout/list1"/>
    <dgm:cxn modelId="{614D7790-BC53-4BD3-94FD-52A718B348DB}" type="presParOf" srcId="{E8BFB79F-C68A-4D94-9ED6-F671D0A14C2F}" destId="{A2A43938-00DC-4150-9F4C-02929ECFC588}" srcOrd="4" destOrd="0" presId="urn:microsoft.com/office/officeart/2005/8/layout/list1"/>
    <dgm:cxn modelId="{4FD2D7C7-A4D6-4726-8BC4-9D74B68C3093}" type="presParOf" srcId="{A2A43938-00DC-4150-9F4C-02929ECFC588}" destId="{FA1019FF-D0EE-47F3-8FB3-2FE382DB2011}" srcOrd="0" destOrd="0" presId="urn:microsoft.com/office/officeart/2005/8/layout/list1"/>
    <dgm:cxn modelId="{D5278162-23A5-4786-B442-54DC0F3976B2}" type="presParOf" srcId="{A2A43938-00DC-4150-9F4C-02929ECFC588}" destId="{28521572-6FA0-4E96-B988-AFD0BA98348C}" srcOrd="1" destOrd="0" presId="urn:microsoft.com/office/officeart/2005/8/layout/list1"/>
    <dgm:cxn modelId="{39E75580-14C0-4EE3-BC8D-E4D6A2840EEE}" type="presParOf" srcId="{E8BFB79F-C68A-4D94-9ED6-F671D0A14C2F}" destId="{A303C4F5-952C-49C5-BCB5-2E5232F13DAA}" srcOrd="5" destOrd="0" presId="urn:microsoft.com/office/officeart/2005/8/layout/list1"/>
    <dgm:cxn modelId="{F2BECE6D-8ACC-44C3-BAA4-F4FB81593465}" type="presParOf" srcId="{E8BFB79F-C68A-4D94-9ED6-F671D0A14C2F}" destId="{3BC3D696-87DD-47B5-8AC4-79DA9C6DF051}" srcOrd="6" destOrd="0" presId="urn:microsoft.com/office/officeart/2005/8/layout/list1"/>
    <dgm:cxn modelId="{F1DE192E-7D5F-4F3B-B71B-16B33FD3BBDC}" type="presParOf" srcId="{E8BFB79F-C68A-4D94-9ED6-F671D0A14C2F}" destId="{5DD18848-A31F-4AAB-993C-DCACC008B5A7}" srcOrd="7" destOrd="0" presId="urn:microsoft.com/office/officeart/2005/8/layout/list1"/>
    <dgm:cxn modelId="{B1D16D64-C64B-42C7-A483-87ADC2D5DD81}" type="presParOf" srcId="{E8BFB79F-C68A-4D94-9ED6-F671D0A14C2F}" destId="{6CC05309-AC2E-417D-8C2B-FA6309038F79}" srcOrd="8" destOrd="0" presId="urn:microsoft.com/office/officeart/2005/8/layout/list1"/>
    <dgm:cxn modelId="{219C5CFD-D390-481D-9E71-BF26E56F5385}" type="presParOf" srcId="{6CC05309-AC2E-417D-8C2B-FA6309038F79}" destId="{4CC2A929-B475-4A3B-BDFA-4E06D5A17202}" srcOrd="0" destOrd="0" presId="urn:microsoft.com/office/officeart/2005/8/layout/list1"/>
    <dgm:cxn modelId="{F0A6BECE-F510-4A47-BE5B-52121C249A3F}" type="presParOf" srcId="{6CC05309-AC2E-417D-8C2B-FA6309038F79}" destId="{BAB47458-479F-4E92-A55F-13D1F22C92AC}" srcOrd="1" destOrd="0" presId="urn:microsoft.com/office/officeart/2005/8/layout/list1"/>
    <dgm:cxn modelId="{33791278-359E-45C2-93A8-1288950A82B4}" type="presParOf" srcId="{E8BFB79F-C68A-4D94-9ED6-F671D0A14C2F}" destId="{F483C7C5-067B-4C78-9DE7-C3C2CE440AD9}" srcOrd="9" destOrd="0" presId="urn:microsoft.com/office/officeart/2005/8/layout/list1"/>
    <dgm:cxn modelId="{5A997C31-B386-4543-928D-BE92584830D8}" type="presParOf" srcId="{E8BFB79F-C68A-4D94-9ED6-F671D0A14C2F}" destId="{3A75188F-55C7-4C4C-9A0F-B5B59C1C5A03}" srcOrd="10" destOrd="0" presId="urn:microsoft.com/office/officeart/2005/8/layout/list1"/>
    <dgm:cxn modelId="{60735057-CC72-4EBD-B161-FD4D64CEAD06}" type="presParOf" srcId="{E8BFB79F-C68A-4D94-9ED6-F671D0A14C2F}" destId="{5CF08E73-34B9-42D3-B172-F469094D8972}" srcOrd="11" destOrd="0" presId="urn:microsoft.com/office/officeart/2005/8/layout/list1"/>
    <dgm:cxn modelId="{8AF8529A-9A4E-4CCD-89C4-5949356447CE}" type="presParOf" srcId="{E8BFB79F-C68A-4D94-9ED6-F671D0A14C2F}" destId="{FFC461F6-8717-4737-9511-8DE88B1711AA}" srcOrd="12" destOrd="0" presId="urn:microsoft.com/office/officeart/2005/8/layout/list1"/>
    <dgm:cxn modelId="{7DEE31CC-B465-4849-9822-DDFF3F63F583}" type="presParOf" srcId="{FFC461F6-8717-4737-9511-8DE88B1711AA}" destId="{92E3B90D-9A92-4EE6-B1E1-0FA49224B76B}" srcOrd="0" destOrd="0" presId="urn:microsoft.com/office/officeart/2005/8/layout/list1"/>
    <dgm:cxn modelId="{2CC031B8-5F39-44F2-A48B-E4FF54C4285A}" type="presParOf" srcId="{FFC461F6-8717-4737-9511-8DE88B1711AA}" destId="{851C09E9-3518-4482-BB7B-DDB677BD502B}" srcOrd="1" destOrd="0" presId="urn:microsoft.com/office/officeart/2005/8/layout/list1"/>
    <dgm:cxn modelId="{DF866D5D-A58C-4449-B96E-9109B4B2A431}" type="presParOf" srcId="{E8BFB79F-C68A-4D94-9ED6-F671D0A14C2F}" destId="{5AB8B9C6-9817-40D5-8C7F-ACA048871807}" srcOrd="13" destOrd="0" presId="urn:microsoft.com/office/officeart/2005/8/layout/list1"/>
    <dgm:cxn modelId="{B5D304C9-D245-4082-9278-D98FFEBBAB37}" type="presParOf" srcId="{E8BFB79F-C68A-4D94-9ED6-F671D0A14C2F}" destId="{3B884864-115A-4C2F-8C11-84CA1B3DC4BE}"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EF22971-1D80-4164-A497-E26B1CE6A70F}"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43E343C8-B98D-43EC-B809-4BB9D16578F6}">
      <dgm:prSet custT="1"/>
      <dgm:spPr/>
      <dgm:t>
        <a:bodyPr/>
        <a:lstStyle/>
        <a:p>
          <a:r>
            <a:rPr lang="en-US" sz="2400" dirty="0"/>
            <a:t>Failover clustering</a:t>
          </a:r>
        </a:p>
      </dgm:t>
    </dgm:pt>
    <dgm:pt modelId="{77CA9727-1775-464B-99A7-9B888C97073C}" type="parTrans" cxnId="{2DBE34E8-35B6-4D0F-89C5-34F9BD3B8AA6}">
      <dgm:prSet/>
      <dgm:spPr/>
      <dgm:t>
        <a:bodyPr/>
        <a:lstStyle/>
        <a:p>
          <a:endParaRPr lang="en-US"/>
        </a:p>
      </dgm:t>
    </dgm:pt>
    <dgm:pt modelId="{6C5C623D-F71D-4A41-BDBF-5B52D82FE29E}" type="sibTrans" cxnId="{2DBE34E8-35B6-4D0F-89C5-34F9BD3B8AA6}">
      <dgm:prSet/>
      <dgm:spPr/>
      <dgm:t>
        <a:bodyPr/>
        <a:lstStyle/>
        <a:p>
          <a:endParaRPr lang="en-US"/>
        </a:p>
      </dgm:t>
    </dgm:pt>
    <dgm:pt modelId="{18020909-D2E3-4258-9173-E2A293C3A43E}">
      <dgm:prSet custT="1"/>
      <dgm:spPr/>
      <dgm:t>
        <a:bodyPr/>
        <a:lstStyle/>
        <a:p>
          <a:r>
            <a:rPr lang="en-US" sz="2400" dirty="0"/>
            <a:t>Transaction Replication</a:t>
          </a:r>
        </a:p>
      </dgm:t>
    </dgm:pt>
    <dgm:pt modelId="{5EC8B4BC-874F-4E51-A35A-1687BA3A6CCD}" type="parTrans" cxnId="{19B8A2F1-7B8E-489D-AECE-8C32452A5C2D}">
      <dgm:prSet/>
      <dgm:spPr/>
      <dgm:t>
        <a:bodyPr/>
        <a:lstStyle/>
        <a:p>
          <a:endParaRPr lang="en-US"/>
        </a:p>
      </dgm:t>
    </dgm:pt>
    <dgm:pt modelId="{252FE265-BCC7-482A-A565-69886E0C549E}" type="sibTrans" cxnId="{19B8A2F1-7B8E-489D-AECE-8C32452A5C2D}">
      <dgm:prSet/>
      <dgm:spPr/>
      <dgm:t>
        <a:bodyPr/>
        <a:lstStyle/>
        <a:p>
          <a:endParaRPr lang="en-US"/>
        </a:p>
      </dgm:t>
    </dgm:pt>
    <dgm:pt modelId="{A5EBD373-8200-4849-9294-DF4B0361B6EA}">
      <dgm:prSet custT="1"/>
      <dgm:spPr/>
      <dgm:t>
        <a:bodyPr/>
        <a:lstStyle/>
        <a:p>
          <a:r>
            <a:rPr lang="en-US" sz="2400" dirty="0"/>
            <a:t>Log shipping</a:t>
          </a:r>
        </a:p>
      </dgm:t>
    </dgm:pt>
    <dgm:pt modelId="{EE113FA9-985E-46DA-B6C3-6F370E5B8630}" type="parTrans" cxnId="{EBDF2A65-C477-47AC-AF80-FABDABAA12B6}">
      <dgm:prSet/>
      <dgm:spPr/>
      <dgm:t>
        <a:bodyPr/>
        <a:lstStyle/>
        <a:p>
          <a:endParaRPr lang="en-US"/>
        </a:p>
      </dgm:t>
    </dgm:pt>
    <dgm:pt modelId="{409C36E1-4E54-4CA8-8677-F93C1E2C5F0A}" type="sibTrans" cxnId="{EBDF2A65-C477-47AC-AF80-FABDABAA12B6}">
      <dgm:prSet/>
      <dgm:spPr/>
      <dgm:t>
        <a:bodyPr/>
        <a:lstStyle/>
        <a:p>
          <a:endParaRPr lang="en-US"/>
        </a:p>
      </dgm:t>
    </dgm:pt>
    <dgm:pt modelId="{841A3DB8-0800-45E3-9E3E-BCD61F47C76E}">
      <dgm:prSet custT="1"/>
      <dgm:spPr/>
      <dgm:t>
        <a:bodyPr/>
        <a:lstStyle/>
        <a:p>
          <a:r>
            <a:rPr lang="en-US" sz="2400" dirty="0"/>
            <a:t>Log Backup</a:t>
          </a:r>
        </a:p>
      </dgm:t>
    </dgm:pt>
    <dgm:pt modelId="{1351E465-AD29-4DEB-BF29-6B6B30652A7F}" type="parTrans" cxnId="{303316D3-4442-4789-9BF6-ABB896D66939}">
      <dgm:prSet/>
      <dgm:spPr/>
      <dgm:t>
        <a:bodyPr/>
        <a:lstStyle/>
        <a:p>
          <a:endParaRPr lang="en-US"/>
        </a:p>
      </dgm:t>
    </dgm:pt>
    <dgm:pt modelId="{CAC592ED-8570-4ABF-AB9A-88E67E51EEFD}" type="sibTrans" cxnId="{303316D3-4442-4789-9BF6-ABB896D66939}">
      <dgm:prSet/>
      <dgm:spPr/>
      <dgm:t>
        <a:bodyPr/>
        <a:lstStyle/>
        <a:p>
          <a:endParaRPr lang="en-US"/>
        </a:p>
      </dgm:t>
    </dgm:pt>
    <dgm:pt modelId="{5F0C5CA2-DF18-40DA-8516-56E10E59ABDC}">
      <dgm:prSet custT="1"/>
      <dgm:spPr/>
      <dgm:t>
        <a:bodyPr/>
        <a:lstStyle/>
        <a:p>
          <a:r>
            <a:rPr lang="en-US" sz="2400" dirty="0"/>
            <a:t>Some delayed durable transaction writes might be lost.</a:t>
          </a:r>
        </a:p>
      </dgm:t>
    </dgm:pt>
    <dgm:pt modelId="{4710EA0A-8D5D-45E2-9814-8E62A2A2F1CF}" type="parTrans" cxnId="{C41F4EEC-4AE7-47B9-AAE4-E78EDB1A5383}">
      <dgm:prSet/>
      <dgm:spPr/>
      <dgm:t>
        <a:bodyPr/>
        <a:lstStyle/>
        <a:p>
          <a:endParaRPr lang="en-US"/>
        </a:p>
      </dgm:t>
    </dgm:pt>
    <dgm:pt modelId="{CDB31214-6240-40DD-9BF2-FD4F4454B46D}" type="sibTrans" cxnId="{C41F4EEC-4AE7-47B9-AAE4-E78EDB1A5383}">
      <dgm:prSet/>
      <dgm:spPr/>
      <dgm:t>
        <a:bodyPr/>
        <a:lstStyle/>
        <a:p>
          <a:endParaRPr lang="en-US"/>
        </a:p>
      </dgm:t>
    </dgm:pt>
    <dgm:pt modelId="{F3A65EA4-6544-4D20-928D-1DBD392C8FFF}">
      <dgm:prSet custT="1"/>
      <dgm:spPr/>
      <dgm:t>
        <a:bodyPr/>
        <a:lstStyle/>
        <a:p>
          <a:r>
            <a:rPr lang="en-US" sz="2400" dirty="0"/>
            <a:t>Delayed durable transactions is not supported with Transactional Replication.</a:t>
          </a:r>
        </a:p>
      </dgm:t>
    </dgm:pt>
    <dgm:pt modelId="{30A2D69E-BA61-4C94-964C-6D83A5EAF356}" type="parTrans" cxnId="{16FBA1C0-B5ED-4FAA-A6D7-B85B88B0D304}">
      <dgm:prSet/>
      <dgm:spPr/>
      <dgm:t>
        <a:bodyPr/>
        <a:lstStyle/>
        <a:p>
          <a:endParaRPr lang="en-US"/>
        </a:p>
      </dgm:t>
    </dgm:pt>
    <dgm:pt modelId="{E70C895B-56C8-4DA1-88F0-29D723E9A81D}" type="sibTrans" cxnId="{16FBA1C0-B5ED-4FAA-A6D7-B85B88B0D304}">
      <dgm:prSet/>
      <dgm:spPr/>
      <dgm:t>
        <a:bodyPr/>
        <a:lstStyle/>
        <a:p>
          <a:endParaRPr lang="en-US"/>
        </a:p>
      </dgm:t>
    </dgm:pt>
    <dgm:pt modelId="{3F462A60-9B40-43BB-A479-07C5D61F23A3}">
      <dgm:prSet custT="1"/>
      <dgm:spPr/>
      <dgm:t>
        <a:bodyPr/>
        <a:lstStyle/>
        <a:p>
          <a:r>
            <a:rPr lang="en-US" sz="2400" dirty="0"/>
            <a:t>Only transactions that have been made durable are included in the log that is shipped.</a:t>
          </a:r>
        </a:p>
      </dgm:t>
    </dgm:pt>
    <dgm:pt modelId="{1727964B-BDF9-40D2-BA88-B20EBC7428BA}" type="parTrans" cxnId="{9BC1EC2B-3CA4-49DC-B512-3EFA6F0A919D}">
      <dgm:prSet/>
      <dgm:spPr/>
      <dgm:t>
        <a:bodyPr/>
        <a:lstStyle/>
        <a:p>
          <a:endParaRPr lang="en-US"/>
        </a:p>
      </dgm:t>
    </dgm:pt>
    <dgm:pt modelId="{170F1353-3AA0-434C-AD5E-DD8D4BC5F307}" type="sibTrans" cxnId="{9BC1EC2B-3CA4-49DC-B512-3EFA6F0A919D}">
      <dgm:prSet/>
      <dgm:spPr/>
      <dgm:t>
        <a:bodyPr/>
        <a:lstStyle/>
        <a:p>
          <a:endParaRPr lang="en-US"/>
        </a:p>
      </dgm:t>
    </dgm:pt>
    <dgm:pt modelId="{BD706A8B-9251-458F-BD7B-7B8F231AAE2E}">
      <dgm:prSet custT="1"/>
      <dgm:spPr/>
      <dgm:t>
        <a:bodyPr/>
        <a:lstStyle/>
        <a:p>
          <a:r>
            <a:rPr lang="en-US" sz="2400" dirty="0"/>
            <a:t>Only transactions that have been made durable are included in the backup.</a:t>
          </a:r>
        </a:p>
      </dgm:t>
    </dgm:pt>
    <dgm:pt modelId="{EFF52B9D-A1AF-42B9-BF03-2FAB98C4C922}" type="parTrans" cxnId="{1D716072-EC0B-4465-A8E4-9A707214D806}">
      <dgm:prSet/>
      <dgm:spPr/>
      <dgm:t>
        <a:bodyPr/>
        <a:lstStyle/>
        <a:p>
          <a:endParaRPr lang="en-US"/>
        </a:p>
      </dgm:t>
    </dgm:pt>
    <dgm:pt modelId="{D2BF33D9-A620-477E-8E4A-1349864C48B8}" type="sibTrans" cxnId="{1D716072-EC0B-4465-A8E4-9A707214D806}">
      <dgm:prSet/>
      <dgm:spPr/>
      <dgm:t>
        <a:bodyPr/>
        <a:lstStyle/>
        <a:p>
          <a:endParaRPr lang="en-US"/>
        </a:p>
      </dgm:t>
    </dgm:pt>
    <dgm:pt modelId="{5A06EAD2-29E7-425F-A6BF-3E526B4DE308}" type="pres">
      <dgm:prSet presAssocID="{DEF22971-1D80-4164-A497-E26B1CE6A70F}" presName="Name0" presStyleCnt="0">
        <dgm:presLayoutVars>
          <dgm:dir/>
          <dgm:animLvl val="lvl"/>
          <dgm:resizeHandles val="exact"/>
        </dgm:presLayoutVars>
      </dgm:prSet>
      <dgm:spPr/>
    </dgm:pt>
    <dgm:pt modelId="{BF6AEB50-2A70-4E99-836E-9CC757E2BFBA}" type="pres">
      <dgm:prSet presAssocID="{43E343C8-B98D-43EC-B809-4BB9D16578F6}" presName="composite" presStyleCnt="0"/>
      <dgm:spPr/>
    </dgm:pt>
    <dgm:pt modelId="{5CF43217-3586-48EA-B02D-3AA3C9C63F47}" type="pres">
      <dgm:prSet presAssocID="{43E343C8-B98D-43EC-B809-4BB9D16578F6}" presName="parTx" presStyleLbl="alignNode1" presStyleIdx="0" presStyleCnt="4">
        <dgm:presLayoutVars>
          <dgm:chMax val="0"/>
          <dgm:chPref val="0"/>
          <dgm:bulletEnabled val="1"/>
        </dgm:presLayoutVars>
      </dgm:prSet>
      <dgm:spPr/>
    </dgm:pt>
    <dgm:pt modelId="{2DFA4956-E33A-4F5D-9D59-BFE2843C5A48}" type="pres">
      <dgm:prSet presAssocID="{43E343C8-B98D-43EC-B809-4BB9D16578F6}" presName="desTx" presStyleLbl="alignAccFollowNode1" presStyleIdx="0" presStyleCnt="4">
        <dgm:presLayoutVars>
          <dgm:bulletEnabled val="1"/>
        </dgm:presLayoutVars>
      </dgm:prSet>
      <dgm:spPr/>
    </dgm:pt>
    <dgm:pt modelId="{898F19E4-AE9E-4662-91A8-1411DB88A0EE}" type="pres">
      <dgm:prSet presAssocID="{6C5C623D-F71D-4A41-BDBF-5B52D82FE29E}" presName="space" presStyleCnt="0"/>
      <dgm:spPr/>
    </dgm:pt>
    <dgm:pt modelId="{E6763293-7086-491C-883C-4B4F9D64D54B}" type="pres">
      <dgm:prSet presAssocID="{18020909-D2E3-4258-9173-E2A293C3A43E}" presName="composite" presStyleCnt="0"/>
      <dgm:spPr/>
    </dgm:pt>
    <dgm:pt modelId="{CF0CA838-8E0E-4725-B77F-1A304CD62A58}" type="pres">
      <dgm:prSet presAssocID="{18020909-D2E3-4258-9173-E2A293C3A43E}" presName="parTx" presStyleLbl="alignNode1" presStyleIdx="1" presStyleCnt="4">
        <dgm:presLayoutVars>
          <dgm:chMax val="0"/>
          <dgm:chPref val="0"/>
          <dgm:bulletEnabled val="1"/>
        </dgm:presLayoutVars>
      </dgm:prSet>
      <dgm:spPr/>
    </dgm:pt>
    <dgm:pt modelId="{7EA00320-B476-4A21-B336-2A8C8AC2088C}" type="pres">
      <dgm:prSet presAssocID="{18020909-D2E3-4258-9173-E2A293C3A43E}" presName="desTx" presStyleLbl="alignAccFollowNode1" presStyleIdx="1" presStyleCnt="4">
        <dgm:presLayoutVars>
          <dgm:bulletEnabled val="1"/>
        </dgm:presLayoutVars>
      </dgm:prSet>
      <dgm:spPr/>
    </dgm:pt>
    <dgm:pt modelId="{6864C399-AD75-49C1-AE29-F28F421173E0}" type="pres">
      <dgm:prSet presAssocID="{252FE265-BCC7-482A-A565-69886E0C549E}" presName="space" presStyleCnt="0"/>
      <dgm:spPr/>
    </dgm:pt>
    <dgm:pt modelId="{1BFB7F6D-0830-46BE-AFEE-5B789D8BB2AE}" type="pres">
      <dgm:prSet presAssocID="{A5EBD373-8200-4849-9294-DF4B0361B6EA}" presName="composite" presStyleCnt="0"/>
      <dgm:spPr/>
    </dgm:pt>
    <dgm:pt modelId="{EB5D7ABD-F433-48C9-B350-2A68B75A5C58}" type="pres">
      <dgm:prSet presAssocID="{A5EBD373-8200-4849-9294-DF4B0361B6EA}" presName="parTx" presStyleLbl="alignNode1" presStyleIdx="2" presStyleCnt="4">
        <dgm:presLayoutVars>
          <dgm:chMax val="0"/>
          <dgm:chPref val="0"/>
          <dgm:bulletEnabled val="1"/>
        </dgm:presLayoutVars>
      </dgm:prSet>
      <dgm:spPr/>
    </dgm:pt>
    <dgm:pt modelId="{FE563E0E-77A6-4E8D-91DE-990F1FD9A306}" type="pres">
      <dgm:prSet presAssocID="{A5EBD373-8200-4849-9294-DF4B0361B6EA}" presName="desTx" presStyleLbl="alignAccFollowNode1" presStyleIdx="2" presStyleCnt="4">
        <dgm:presLayoutVars>
          <dgm:bulletEnabled val="1"/>
        </dgm:presLayoutVars>
      </dgm:prSet>
      <dgm:spPr/>
    </dgm:pt>
    <dgm:pt modelId="{1F8426B1-B1DA-42AF-ABCB-EEDC29890504}" type="pres">
      <dgm:prSet presAssocID="{409C36E1-4E54-4CA8-8677-F93C1E2C5F0A}" presName="space" presStyleCnt="0"/>
      <dgm:spPr/>
    </dgm:pt>
    <dgm:pt modelId="{E7173CE9-423F-4B4A-870C-3EAFC8CDD725}" type="pres">
      <dgm:prSet presAssocID="{841A3DB8-0800-45E3-9E3E-BCD61F47C76E}" presName="composite" presStyleCnt="0"/>
      <dgm:spPr/>
    </dgm:pt>
    <dgm:pt modelId="{947F0488-2B0A-4EA3-9A6F-49A27E7D9089}" type="pres">
      <dgm:prSet presAssocID="{841A3DB8-0800-45E3-9E3E-BCD61F47C76E}" presName="parTx" presStyleLbl="alignNode1" presStyleIdx="3" presStyleCnt="4">
        <dgm:presLayoutVars>
          <dgm:chMax val="0"/>
          <dgm:chPref val="0"/>
          <dgm:bulletEnabled val="1"/>
        </dgm:presLayoutVars>
      </dgm:prSet>
      <dgm:spPr/>
    </dgm:pt>
    <dgm:pt modelId="{1BC62F99-D836-4441-9EB6-4BE4CBE77A5B}" type="pres">
      <dgm:prSet presAssocID="{841A3DB8-0800-45E3-9E3E-BCD61F47C76E}" presName="desTx" presStyleLbl="alignAccFollowNode1" presStyleIdx="3" presStyleCnt="4">
        <dgm:presLayoutVars>
          <dgm:bulletEnabled val="1"/>
        </dgm:presLayoutVars>
      </dgm:prSet>
      <dgm:spPr/>
    </dgm:pt>
  </dgm:ptLst>
  <dgm:cxnLst>
    <dgm:cxn modelId="{9BC1EC2B-3CA4-49DC-B512-3EFA6F0A919D}" srcId="{A5EBD373-8200-4849-9294-DF4B0361B6EA}" destId="{3F462A60-9B40-43BB-A479-07C5D61F23A3}" srcOrd="0" destOrd="0" parTransId="{1727964B-BDF9-40D2-BA88-B20EBC7428BA}" sibTransId="{170F1353-3AA0-434C-AD5E-DD8D4BC5F307}"/>
    <dgm:cxn modelId="{95607E38-70D4-4F98-A1F8-588FB2BB3425}" type="presOf" srcId="{841A3DB8-0800-45E3-9E3E-BCD61F47C76E}" destId="{947F0488-2B0A-4EA3-9A6F-49A27E7D9089}" srcOrd="0" destOrd="0" presId="urn:microsoft.com/office/officeart/2005/8/layout/hList1"/>
    <dgm:cxn modelId="{EBDF2A65-C477-47AC-AF80-FABDABAA12B6}" srcId="{DEF22971-1D80-4164-A497-E26B1CE6A70F}" destId="{A5EBD373-8200-4849-9294-DF4B0361B6EA}" srcOrd="2" destOrd="0" parTransId="{EE113FA9-985E-46DA-B6C3-6F370E5B8630}" sibTransId="{409C36E1-4E54-4CA8-8677-F93C1E2C5F0A}"/>
    <dgm:cxn modelId="{8082266D-9B91-4C10-AD25-FAA067896977}" type="presOf" srcId="{5F0C5CA2-DF18-40DA-8516-56E10E59ABDC}" destId="{2DFA4956-E33A-4F5D-9D59-BFE2843C5A48}" srcOrd="0" destOrd="0" presId="urn:microsoft.com/office/officeart/2005/8/layout/hList1"/>
    <dgm:cxn modelId="{1D716072-EC0B-4465-A8E4-9A707214D806}" srcId="{841A3DB8-0800-45E3-9E3E-BCD61F47C76E}" destId="{BD706A8B-9251-458F-BD7B-7B8F231AAE2E}" srcOrd="0" destOrd="0" parTransId="{EFF52B9D-A1AF-42B9-BF03-2FAB98C4C922}" sibTransId="{D2BF33D9-A620-477E-8E4A-1349864C48B8}"/>
    <dgm:cxn modelId="{F23B6F80-6733-412F-973B-F3C44249BC22}" type="presOf" srcId="{F3A65EA4-6544-4D20-928D-1DBD392C8FFF}" destId="{7EA00320-B476-4A21-B336-2A8C8AC2088C}" srcOrd="0" destOrd="0" presId="urn:microsoft.com/office/officeart/2005/8/layout/hList1"/>
    <dgm:cxn modelId="{33335982-0D0C-4647-8E4F-5009E97208CB}" type="presOf" srcId="{DEF22971-1D80-4164-A497-E26B1CE6A70F}" destId="{5A06EAD2-29E7-425F-A6BF-3E526B4DE308}" srcOrd="0" destOrd="0" presId="urn:microsoft.com/office/officeart/2005/8/layout/hList1"/>
    <dgm:cxn modelId="{90E5419C-BDD0-4E0D-8DC6-812267280A11}" type="presOf" srcId="{BD706A8B-9251-458F-BD7B-7B8F231AAE2E}" destId="{1BC62F99-D836-4441-9EB6-4BE4CBE77A5B}" srcOrd="0" destOrd="0" presId="urn:microsoft.com/office/officeart/2005/8/layout/hList1"/>
    <dgm:cxn modelId="{B7AED7B0-9D80-4783-847B-F3F11B1C4EF8}" type="presOf" srcId="{43E343C8-B98D-43EC-B809-4BB9D16578F6}" destId="{5CF43217-3586-48EA-B02D-3AA3C9C63F47}" srcOrd="0" destOrd="0" presId="urn:microsoft.com/office/officeart/2005/8/layout/hList1"/>
    <dgm:cxn modelId="{B45131C0-7B0B-4E56-9D0B-4FE5635A0AA6}" type="presOf" srcId="{18020909-D2E3-4258-9173-E2A293C3A43E}" destId="{CF0CA838-8E0E-4725-B77F-1A304CD62A58}" srcOrd="0" destOrd="0" presId="urn:microsoft.com/office/officeart/2005/8/layout/hList1"/>
    <dgm:cxn modelId="{16FBA1C0-B5ED-4FAA-A6D7-B85B88B0D304}" srcId="{18020909-D2E3-4258-9173-E2A293C3A43E}" destId="{F3A65EA4-6544-4D20-928D-1DBD392C8FFF}" srcOrd="0" destOrd="0" parTransId="{30A2D69E-BA61-4C94-964C-6D83A5EAF356}" sibTransId="{E70C895B-56C8-4DA1-88F0-29D723E9A81D}"/>
    <dgm:cxn modelId="{228DC3CB-C4F0-49D6-875C-8EEEC5738C72}" type="presOf" srcId="{A5EBD373-8200-4849-9294-DF4B0361B6EA}" destId="{EB5D7ABD-F433-48C9-B350-2A68B75A5C58}" srcOrd="0" destOrd="0" presId="urn:microsoft.com/office/officeart/2005/8/layout/hList1"/>
    <dgm:cxn modelId="{303316D3-4442-4789-9BF6-ABB896D66939}" srcId="{DEF22971-1D80-4164-A497-E26B1CE6A70F}" destId="{841A3DB8-0800-45E3-9E3E-BCD61F47C76E}" srcOrd="3" destOrd="0" parTransId="{1351E465-AD29-4DEB-BF29-6B6B30652A7F}" sibTransId="{CAC592ED-8570-4ABF-AB9A-88E67E51EEFD}"/>
    <dgm:cxn modelId="{CCCB22DB-2F24-49A3-88E9-4381BCA9794B}" type="presOf" srcId="{3F462A60-9B40-43BB-A479-07C5D61F23A3}" destId="{FE563E0E-77A6-4E8D-91DE-990F1FD9A306}" srcOrd="0" destOrd="0" presId="urn:microsoft.com/office/officeart/2005/8/layout/hList1"/>
    <dgm:cxn modelId="{2DBE34E8-35B6-4D0F-89C5-34F9BD3B8AA6}" srcId="{DEF22971-1D80-4164-A497-E26B1CE6A70F}" destId="{43E343C8-B98D-43EC-B809-4BB9D16578F6}" srcOrd="0" destOrd="0" parTransId="{77CA9727-1775-464B-99A7-9B888C97073C}" sibTransId="{6C5C623D-F71D-4A41-BDBF-5B52D82FE29E}"/>
    <dgm:cxn modelId="{C41F4EEC-4AE7-47B9-AAE4-E78EDB1A5383}" srcId="{43E343C8-B98D-43EC-B809-4BB9D16578F6}" destId="{5F0C5CA2-DF18-40DA-8516-56E10E59ABDC}" srcOrd="0" destOrd="0" parTransId="{4710EA0A-8D5D-45E2-9814-8E62A2A2F1CF}" sibTransId="{CDB31214-6240-40DD-9BF2-FD4F4454B46D}"/>
    <dgm:cxn modelId="{19B8A2F1-7B8E-489D-AECE-8C32452A5C2D}" srcId="{DEF22971-1D80-4164-A497-E26B1CE6A70F}" destId="{18020909-D2E3-4258-9173-E2A293C3A43E}" srcOrd="1" destOrd="0" parTransId="{5EC8B4BC-874F-4E51-A35A-1687BA3A6CCD}" sibTransId="{252FE265-BCC7-482A-A565-69886E0C549E}"/>
    <dgm:cxn modelId="{5C308C68-1DFB-48E0-B28E-D6D72E60856A}" type="presParOf" srcId="{5A06EAD2-29E7-425F-A6BF-3E526B4DE308}" destId="{BF6AEB50-2A70-4E99-836E-9CC757E2BFBA}" srcOrd="0" destOrd="0" presId="urn:microsoft.com/office/officeart/2005/8/layout/hList1"/>
    <dgm:cxn modelId="{146CA335-D69C-47D9-A6C3-DFF0F86966CC}" type="presParOf" srcId="{BF6AEB50-2A70-4E99-836E-9CC757E2BFBA}" destId="{5CF43217-3586-48EA-B02D-3AA3C9C63F47}" srcOrd="0" destOrd="0" presId="urn:microsoft.com/office/officeart/2005/8/layout/hList1"/>
    <dgm:cxn modelId="{7E522A4D-9940-4FE7-9A87-5C583C1571AA}" type="presParOf" srcId="{BF6AEB50-2A70-4E99-836E-9CC757E2BFBA}" destId="{2DFA4956-E33A-4F5D-9D59-BFE2843C5A48}" srcOrd="1" destOrd="0" presId="urn:microsoft.com/office/officeart/2005/8/layout/hList1"/>
    <dgm:cxn modelId="{62F3AFDE-4270-4745-B84D-BE063056DA0D}" type="presParOf" srcId="{5A06EAD2-29E7-425F-A6BF-3E526B4DE308}" destId="{898F19E4-AE9E-4662-91A8-1411DB88A0EE}" srcOrd="1" destOrd="0" presId="urn:microsoft.com/office/officeart/2005/8/layout/hList1"/>
    <dgm:cxn modelId="{347C42FE-6730-48C7-95F5-2F4BEF03970E}" type="presParOf" srcId="{5A06EAD2-29E7-425F-A6BF-3E526B4DE308}" destId="{E6763293-7086-491C-883C-4B4F9D64D54B}" srcOrd="2" destOrd="0" presId="urn:microsoft.com/office/officeart/2005/8/layout/hList1"/>
    <dgm:cxn modelId="{DABC589A-5296-4C32-9BF6-A73B81BE95F9}" type="presParOf" srcId="{E6763293-7086-491C-883C-4B4F9D64D54B}" destId="{CF0CA838-8E0E-4725-B77F-1A304CD62A58}" srcOrd="0" destOrd="0" presId="urn:microsoft.com/office/officeart/2005/8/layout/hList1"/>
    <dgm:cxn modelId="{77430045-129F-40FB-A47C-B88DA186F8B2}" type="presParOf" srcId="{E6763293-7086-491C-883C-4B4F9D64D54B}" destId="{7EA00320-B476-4A21-B336-2A8C8AC2088C}" srcOrd="1" destOrd="0" presId="urn:microsoft.com/office/officeart/2005/8/layout/hList1"/>
    <dgm:cxn modelId="{A2BE75AC-94B4-482D-90F9-F0D9E67ECB07}" type="presParOf" srcId="{5A06EAD2-29E7-425F-A6BF-3E526B4DE308}" destId="{6864C399-AD75-49C1-AE29-F28F421173E0}" srcOrd="3" destOrd="0" presId="urn:microsoft.com/office/officeart/2005/8/layout/hList1"/>
    <dgm:cxn modelId="{F14C6001-5BB9-413F-9B41-ED0D99CEBB8D}" type="presParOf" srcId="{5A06EAD2-29E7-425F-A6BF-3E526B4DE308}" destId="{1BFB7F6D-0830-46BE-AFEE-5B789D8BB2AE}" srcOrd="4" destOrd="0" presId="urn:microsoft.com/office/officeart/2005/8/layout/hList1"/>
    <dgm:cxn modelId="{41F86302-242D-4CFC-A237-D98B46F3B307}" type="presParOf" srcId="{1BFB7F6D-0830-46BE-AFEE-5B789D8BB2AE}" destId="{EB5D7ABD-F433-48C9-B350-2A68B75A5C58}" srcOrd="0" destOrd="0" presId="urn:microsoft.com/office/officeart/2005/8/layout/hList1"/>
    <dgm:cxn modelId="{F96556DC-655E-45DD-9E90-5625F553633C}" type="presParOf" srcId="{1BFB7F6D-0830-46BE-AFEE-5B789D8BB2AE}" destId="{FE563E0E-77A6-4E8D-91DE-990F1FD9A306}" srcOrd="1" destOrd="0" presId="urn:microsoft.com/office/officeart/2005/8/layout/hList1"/>
    <dgm:cxn modelId="{6FB18538-A695-4D97-B02C-D5C92824F124}" type="presParOf" srcId="{5A06EAD2-29E7-425F-A6BF-3E526B4DE308}" destId="{1F8426B1-B1DA-42AF-ABCB-EEDC29890504}" srcOrd="5" destOrd="0" presId="urn:microsoft.com/office/officeart/2005/8/layout/hList1"/>
    <dgm:cxn modelId="{521ED171-A1D3-4009-B9E5-3AB2A3332013}" type="presParOf" srcId="{5A06EAD2-29E7-425F-A6BF-3E526B4DE308}" destId="{E7173CE9-423F-4B4A-870C-3EAFC8CDD725}" srcOrd="6" destOrd="0" presId="urn:microsoft.com/office/officeart/2005/8/layout/hList1"/>
    <dgm:cxn modelId="{55D8FF5B-CEB2-4774-B4CE-AE21028FB7EF}" type="presParOf" srcId="{E7173CE9-423F-4B4A-870C-3EAFC8CDD725}" destId="{947F0488-2B0A-4EA3-9A6F-49A27E7D9089}" srcOrd="0" destOrd="0" presId="urn:microsoft.com/office/officeart/2005/8/layout/hList1"/>
    <dgm:cxn modelId="{D9B63BAA-554B-473E-A0D6-BF239CE9786E}" type="presParOf" srcId="{E7173CE9-423F-4B4A-870C-3EAFC8CDD725}" destId="{1BC62F99-D836-4441-9EB6-4BE4CBE77A5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t>When will an update to a row be written to the data file?</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r>
            <a:rPr lang="en-US" sz="2400" kern="1200" dirty="0"/>
            <a:t>When is a transaction written to the transaction log?</a:t>
          </a:r>
          <a:endParaRPr lang="en-US" sz="2400" b="0" kern="1200" dirty="0">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A56F395D-4321-435E-9204-55D31F9EA4B9}">
      <dgm:prSet custT="1"/>
      <dgm:spPr/>
      <dgm:t>
        <a:bodyPr/>
        <a:lstStyle/>
        <a:p>
          <a:r>
            <a:rPr lang="en-US" sz="2400" kern="1200" dirty="0"/>
            <a:t>What happens to a data modification if the SQL Server crashes before the change has been written to the data file?</a:t>
          </a:r>
          <a:endParaRPr lang="en-US" sz="2400" b="0" kern="1200" dirty="0">
            <a:latin typeface="Segoe UI Light" panose="020B0502040204020203" pitchFamily="34" charset="0"/>
            <a:ea typeface="+mn-ea"/>
            <a:cs typeface="Segoe UI Light" panose="020B0502040204020203" pitchFamily="34" charset="0"/>
          </a:endParaRPr>
        </a:p>
      </dgm:t>
    </dgm:pt>
    <dgm:pt modelId="{07AF22B8-F9B0-46A6-93F7-3A1759877172}" type="parTrans" cxnId="{325C3BE1-2F40-4CE4-AE34-081BAB302905}">
      <dgm:prSet/>
      <dgm:spPr/>
    </dgm:pt>
    <dgm:pt modelId="{EAAC1E64-3242-4EAA-9AED-1C8FDEA08449}" type="sibTrans" cxnId="{325C3BE1-2F40-4CE4-AE34-081BAB302905}">
      <dgm:prSet/>
      <dgm:spPr/>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3">
        <dgm:presLayoutVars>
          <dgm:chMax val="0"/>
          <dgm:bulletEnabled val="1"/>
        </dgm:presLayoutVars>
      </dgm:prSet>
      <dgm:spPr/>
    </dgm:pt>
    <dgm:pt modelId="{0C706F0D-B9E6-4CA6-8FD1-7E6456C45854}" type="pres">
      <dgm:prSet presAssocID="{3FBAB6A2-0607-4274-9C0A-0E5D7E46D320}" presName="spacer" presStyleCnt="0"/>
      <dgm:spPr/>
    </dgm:pt>
    <dgm:pt modelId="{29DDF936-5BD3-481F-878F-EF82327F1F1A}" type="pres">
      <dgm:prSet presAssocID="{A56F395D-4321-435E-9204-55D31F9EA4B9}"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C104C727-9D6A-49C5-8F4F-35A671227C1C}" type="presOf" srcId="{A56F395D-4321-435E-9204-55D31F9EA4B9}" destId="{29DDF936-5BD3-481F-878F-EF82327F1F1A}"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25C3BE1-2F40-4CE4-AE34-081BAB302905}" srcId="{15A7774C-B622-4F48-8F7B-AF1AAB74E997}" destId="{A56F395D-4321-435E-9204-55D31F9EA4B9}" srcOrd="2" destOrd="0" parTransId="{07AF22B8-F9B0-46A6-93F7-3A1759877172}" sibTransId="{EAAC1E64-3242-4EAA-9AED-1C8FDEA08449}"/>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2B9332E6-BB74-4D7D-82B0-8A7F7C92BB99}" type="presParOf" srcId="{97400BD5-14CE-4761-8A6A-64BC46D23158}" destId="{0C706F0D-B9E6-4CA6-8FD1-7E6456C45854}" srcOrd="3" destOrd="0" presId="urn:microsoft.com/office/officeart/2005/8/layout/vList2"/>
    <dgm:cxn modelId="{A93567A7-4FE5-403A-A9A9-D2D9866551FA}" type="presParOf" srcId="{97400BD5-14CE-4761-8A6A-64BC46D23158}" destId="{29DDF936-5BD3-481F-878F-EF82327F1F1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42458F5C-D00A-4C97-8F89-270A5DD84F0A}"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en-US"/>
        </a:p>
      </dgm:t>
    </dgm:pt>
    <dgm:pt modelId="{70AF3312-BF6D-4659-BFDA-4C05B49CCD50}">
      <dgm:prSet custT="1"/>
      <dgm:spPr/>
      <dgm:t>
        <a:bodyPr/>
        <a:lstStyle/>
        <a:p>
          <a:r>
            <a:rPr lang="en-US" sz="2400" baseline="0" dirty="0"/>
            <a:t>Capturing blocking Information</a:t>
          </a:r>
          <a:endParaRPr lang="en-US" sz="2400" dirty="0"/>
        </a:p>
      </dgm:t>
    </dgm:pt>
    <dgm:pt modelId="{27B86253-177C-418C-BF5E-AB77AAB9AA54}" type="parTrans" cxnId="{556CBC2B-0DC6-49BB-8341-6F5CC36827FF}">
      <dgm:prSet/>
      <dgm:spPr/>
      <dgm:t>
        <a:bodyPr/>
        <a:lstStyle/>
        <a:p>
          <a:endParaRPr lang="en-US"/>
        </a:p>
      </dgm:t>
    </dgm:pt>
    <dgm:pt modelId="{EA4DF6D2-C0F3-4290-A93B-A5E949998057}" type="sibTrans" cxnId="{556CBC2B-0DC6-49BB-8341-6F5CC36827FF}">
      <dgm:prSet/>
      <dgm:spPr/>
      <dgm:t>
        <a:bodyPr/>
        <a:lstStyle/>
        <a:p>
          <a:endParaRPr lang="en-US"/>
        </a:p>
      </dgm:t>
    </dgm:pt>
    <dgm:pt modelId="{D5CA3DB9-835F-4045-932F-EBAAFEFA4323}">
      <dgm:prSet custT="1"/>
      <dgm:spPr/>
      <dgm:t>
        <a:bodyPr/>
        <a:lstStyle/>
        <a:p>
          <a:r>
            <a:rPr lang="en-US" sz="2000" baseline="0" dirty="0"/>
            <a:t>A Custom SQL scripts using DMVs that monitor locking and blocking</a:t>
          </a:r>
          <a:endParaRPr lang="en-US" sz="2000" dirty="0"/>
        </a:p>
      </dgm:t>
    </dgm:pt>
    <dgm:pt modelId="{D4869161-A6C5-4A74-9E29-CACE509032E5}" type="parTrans" cxnId="{E6236403-BCC5-4EDC-B464-5A3F73099D90}">
      <dgm:prSet/>
      <dgm:spPr/>
      <dgm:t>
        <a:bodyPr/>
        <a:lstStyle/>
        <a:p>
          <a:endParaRPr lang="en-US"/>
        </a:p>
      </dgm:t>
    </dgm:pt>
    <dgm:pt modelId="{C71517C5-DD6F-4C14-8BE4-7DE78F229EB6}" type="sibTrans" cxnId="{E6236403-BCC5-4EDC-B464-5A3F73099D90}">
      <dgm:prSet/>
      <dgm:spPr/>
      <dgm:t>
        <a:bodyPr/>
        <a:lstStyle/>
        <a:p>
          <a:endParaRPr lang="en-US"/>
        </a:p>
      </dgm:t>
    </dgm:pt>
    <dgm:pt modelId="{0AED89E4-E993-4B9C-AEAF-7F32E6F8E5C3}">
      <dgm:prSet custT="1"/>
      <dgm:spPr/>
      <dgm:t>
        <a:bodyPr/>
        <a:lstStyle/>
        <a:p>
          <a:r>
            <a:rPr lang="en-US" sz="2000" baseline="0" dirty="0"/>
            <a:t>Use SSMS standard reports i.e. Activity – All blocking transactions</a:t>
          </a:r>
          <a:endParaRPr lang="en-US" sz="2000" dirty="0"/>
        </a:p>
      </dgm:t>
    </dgm:pt>
    <dgm:pt modelId="{54061F4C-46AB-4A78-BDF4-D87E39BD90DD}" type="parTrans" cxnId="{1C08BEDC-4D8B-4471-952C-01A937FA720D}">
      <dgm:prSet/>
      <dgm:spPr/>
      <dgm:t>
        <a:bodyPr/>
        <a:lstStyle/>
        <a:p>
          <a:endParaRPr lang="en-US"/>
        </a:p>
      </dgm:t>
    </dgm:pt>
    <dgm:pt modelId="{DC746CED-CFCA-4307-BCA8-728D529D1F9D}" type="sibTrans" cxnId="{1C08BEDC-4D8B-4471-952C-01A937FA720D}">
      <dgm:prSet/>
      <dgm:spPr/>
      <dgm:t>
        <a:bodyPr/>
        <a:lstStyle/>
        <a:p>
          <a:endParaRPr lang="en-US"/>
        </a:p>
      </dgm:t>
    </dgm:pt>
    <dgm:pt modelId="{7940CD69-5B40-45D6-AA8C-C3FA56900D19}">
      <dgm:prSet custT="1"/>
      <dgm:spPr/>
      <dgm:t>
        <a:bodyPr/>
        <a:lstStyle/>
        <a:p>
          <a:r>
            <a:rPr lang="en-US" sz="2000" baseline="0" dirty="0"/>
            <a:t>Extended events - blocked process report</a:t>
          </a:r>
          <a:endParaRPr lang="en-US" sz="2000" dirty="0"/>
        </a:p>
      </dgm:t>
    </dgm:pt>
    <dgm:pt modelId="{A3E44805-4B78-45A6-A575-115B040DAC46}" type="parTrans" cxnId="{372B6AA2-6628-42DE-8FF5-77CD24DCBC8D}">
      <dgm:prSet/>
      <dgm:spPr/>
      <dgm:t>
        <a:bodyPr/>
        <a:lstStyle/>
        <a:p>
          <a:endParaRPr lang="en-US"/>
        </a:p>
      </dgm:t>
    </dgm:pt>
    <dgm:pt modelId="{81C645E9-B75C-448B-8DE7-A756FB85EC7E}" type="sibTrans" cxnId="{372B6AA2-6628-42DE-8FF5-77CD24DCBC8D}">
      <dgm:prSet/>
      <dgm:spPr/>
      <dgm:t>
        <a:bodyPr/>
        <a:lstStyle/>
        <a:p>
          <a:endParaRPr lang="en-US"/>
        </a:p>
      </dgm:t>
    </dgm:pt>
    <dgm:pt modelId="{6856110A-DD20-4CFF-A82C-A45505144B31}" type="pres">
      <dgm:prSet presAssocID="{42458F5C-D00A-4C97-8F89-270A5DD84F0A}" presName="Name0" presStyleCnt="0">
        <dgm:presLayoutVars>
          <dgm:dir/>
          <dgm:animLvl val="lvl"/>
          <dgm:resizeHandles val="exact"/>
        </dgm:presLayoutVars>
      </dgm:prSet>
      <dgm:spPr/>
    </dgm:pt>
    <dgm:pt modelId="{23445286-CEAE-470A-8B8F-7C1D78D73F99}" type="pres">
      <dgm:prSet presAssocID="{70AF3312-BF6D-4659-BFDA-4C05B49CCD50}" presName="linNode" presStyleCnt="0"/>
      <dgm:spPr/>
    </dgm:pt>
    <dgm:pt modelId="{4A66A65C-B539-4654-9074-F975B5769DDF}" type="pres">
      <dgm:prSet presAssocID="{70AF3312-BF6D-4659-BFDA-4C05B49CCD50}" presName="parentText" presStyleLbl="node1" presStyleIdx="0" presStyleCnt="1">
        <dgm:presLayoutVars>
          <dgm:chMax val="1"/>
          <dgm:bulletEnabled val="1"/>
        </dgm:presLayoutVars>
      </dgm:prSet>
      <dgm:spPr/>
    </dgm:pt>
    <dgm:pt modelId="{D81D82A1-33DB-4877-9477-ECF8B57273BF}" type="pres">
      <dgm:prSet presAssocID="{70AF3312-BF6D-4659-BFDA-4C05B49CCD50}" presName="descendantText" presStyleLbl="alignAccFollowNode1" presStyleIdx="0" presStyleCnt="1">
        <dgm:presLayoutVars>
          <dgm:bulletEnabled val="1"/>
        </dgm:presLayoutVars>
      </dgm:prSet>
      <dgm:spPr/>
    </dgm:pt>
  </dgm:ptLst>
  <dgm:cxnLst>
    <dgm:cxn modelId="{E6236403-BCC5-4EDC-B464-5A3F73099D90}" srcId="{70AF3312-BF6D-4659-BFDA-4C05B49CCD50}" destId="{D5CA3DB9-835F-4045-932F-EBAAFEFA4323}" srcOrd="0" destOrd="0" parTransId="{D4869161-A6C5-4A74-9E29-CACE509032E5}" sibTransId="{C71517C5-DD6F-4C14-8BE4-7DE78F229EB6}"/>
    <dgm:cxn modelId="{556CBC2B-0DC6-49BB-8341-6F5CC36827FF}" srcId="{42458F5C-D00A-4C97-8F89-270A5DD84F0A}" destId="{70AF3312-BF6D-4659-BFDA-4C05B49CCD50}" srcOrd="0" destOrd="0" parTransId="{27B86253-177C-418C-BF5E-AB77AAB9AA54}" sibTransId="{EA4DF6D2-C0F3-4290-A93B-A5E949998057}"/>
    <dgm:cxn modelId="{F77D656C-6CFC-476A-8CAD-D6E8605BEC42}" type="presOf" srcId="{0AED89E4-E993-4B9C-AEAF-7F32E6F8E5C3}" destId="{D81D82A1-33DB-4877-9477-ECF8B57273BF}" srcOrd="0" destOrd="1" presId="urn:microsoft.com/office/officeart/2005/8/layout/vList5"/>
    <dgm:cxn modelId="{3EEB6879-D585-4669-BD2E-F135AA26683A}" type="presOf" srcId="{70AF3312-BF6D-4659-BFDA-4C05B49CCD50}" destId="{4A66A65C-B539-4654-9074-F975B5769DDF}" srcOrd="0" destOrd="0" presId="urn:microsoft.com/office/officeart/2005/8/layout/vList5"/>
    <dgm:cxn modelId="{36708079-E392-46AE-A439-20C7411A9983}" type="presOf" srcId="{42458F5C-D00A-4C97-8F89-270A5DD84F0A}" destId="{6856110A-DD20-4CFF-A82C-A45505144B31}" srcOrd="0" destOrd="0" presId="urn:microsoft.com/office/officeart/2005/8/layout/vList5"/>
    <dgm:cxn modelId="{372B6AA2-6628-42DE-8FF5-77CD24DCBC8D}" srcId="{70AF3312-BF6D-4659-BFDA-4C05B49CCD50}" destId="{7940CD69-5B40-45D6-AA8C-C3FA56900D19}" srcOrd="2" destOrd="0" parTransId="{A3E44805-4B78-45A6-A575-115B040DAC46}" sibTransId="{81C645E9-B75C-448B-8DE7-A756FB85EC7E}"/>
    <dgm:cxn modelId="{0B420ACC-479F-4577-AF96-522D1ED82ECC}" type="presOf" srcId="{7940CD69-5B40-45D6-AA8C-C3FA56900D19}" destId="{D81D82A1-33DB-4877-9477-ECF8B57273BF}" srcOrd="0" destOrd="2" presId="urn:microsoft.com/office/officeart/2005/8/layout/vList5"/>
    <dgm:cxn modelId="{1C08BEDC-4D8B-4471-952C-01A937FA720D}" srcId="{70AF3312-BF6D-4659-BFDA-4C05B49CCD50}" destId="{0AED89E4-E993-4B9C-AEAF-7F32E6F8E5C3}" srcOrd="1" destOrd="0" parTransId="{54061F4C-46AB-4A78-BDF4-D87E39BD90DD}" sibTransId="{DC746CED-CFCA-4307-BCA8-728D529D1F9D}"/>
    <dgm:cxn modelId="{1E2D75DF-57C0-4749-AFB8-27A4094C8438}" type="presOf" srcId="{D5CA3DB9-835F-4045-932F-EBAAFEFA4323}" destId="{D81D82A1-33DB-4877-9477-ECF8B57273BF}" srcOrd="0" destOrd="0" presId="urn:microsoft.com/office/officeart/2005/8/layout/vList5"/>
    <dgm:cxn modelId="{5E0E7FDB-5947-410F-8E55-E96C5F70542C}" type="presParOf" srcId="{6856110A-DD20-4CFF-A82C-A45505144B31}" destId="{23445286-CEAE-470A-8B8F-7C1D78D73F99}" srcOrd="0" destOrd="0" presId="urn:microsoft.com/office/officeart/2005/8/layout/vList5"/>
    <dgm:cxn modelId="{16622386-AFFD-4051-8630-84AADF121E8B}" type="presParOf" srcId="{23445286-CEAE-470A-8B8F-7C1D78D73F99}" destId="{4A66A65C-B539-4654-9074-F975B5769DDF}" srcOrd="0" destOrd="0" presId="urn:microsoft.com/office/officeart/2005/8/layout/vList5"/>
    <dgm:cxn modelId="{A04CBD31-0334-4621-B94A-476D01EC261F}" type="presParOf" srcId="{23445286-CEAE-470A-8B8F-7C1D78D73F99}" destId="{D81D82A1-33DB-4877-9477-ECF8B57273B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ECFD40BE-BC3D-4431-BEB1-1211059BA16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C232362-2B77-413F-9A82-CDF67BC4FA83}">
      <dgm:prSet/>
      <dgm:spPr/>
      <dgm:t>
        <a:bodyPr/>
        <a:lstStyle/>
        <a:p>
          <a:r>
            <a:rPr lang="en-US" dirty="0"/>
            <a:t>Long running Query</a:t>
          </a:r>
        </a:p>
      </dgm:t>
    </dgm:pt>
    <dgm:pt modelId="{3877BFC9-0AE7-4E02-BB77-5277E197ACD3}" type="parTrans" cxnId="{02AFA561-2531-44FC-9A94-3AF71BBC81E8}">
      <dgm:prSet/>
      <dgm:spPr/>
      <dgm:t>
        <a:bodyPr/>
        <a:lstStyle/>
        <a:p>
          <a:endParaRPr lang="en-US"/>
        </a:p>
      </dgm:t>
    </dgm:pt>
    <dgm:pt modelId="{01EADD65-B46C-4397-A3EF-B4D8FFE1996A}" type="sibTrans" cxnId="{02AFA561-2531-44FC-9A94-3AF71BBC81E8}">
      <dgm:prSet/>
      <dgm:spPr/>
      <dgm:t>
        <a:bodyPr/>
        <a:lstStyle/>
        <a:p>
          <a:endParaRPr lang="en-US"/>
        </a:p>
      </dgm:t>
    </dgm:pt>
    <dgm:pt modelId="{FCA611E9-17CD-4C45-A866-C1A8ACBC34CF}">
      <dgm:prSet/>
      <dgm:spPr/>
      <dgm:t>
        <a:bodyPr/>
        <a:lstStyle/>
        <a:p>
          <a:r>
            <a:rPr lang="en-US" dirty="0"/>
            <a:t>Orphaned connection</a:t>
          </a:r>
        </a:p>
      </dgm:t>
    </dgm:pt>
    <dgm:pt modelId="{A0A0FBCE-A374-4822-9B9C-E06882B1F22A}" type="parTrans" cxnId="{BF8AE097-56AF-4B6B-A6F8-64C7B4078165}">
      <dgm:prSet/>
      <dgm:spPr/>
      <dgm:t>
        <a:bodyPr/>
        <a:lstStyle/>
        <a:p>
          <a:endParaRPr lang="en-US"/>
        </a:p>
      </dgm:t>
    </dgm:pt>
    <dgm:pt modelId="{0E4DA0C8-719E-4556-9221-55F331F107C9}" type="sibTrans" cxnId="{BF8AE097-56AF-4B6B-A6F8-64C7B4078165}">
      <dgm:prSet/>
      <dgm:spPr/>
      <dgm:t>
        <a:bodyPr/>
        <a:lstStyle/>
        <a:p>
          <a:endParaRPr lang="en-US"/>
        </a:p>
      </dgm:t>
    </dgm:pt>
    <dgm:pt modelId="{69BEA656-76AF-45DB-A0DE-1A2848C3D46C}">
      <dgm:prSet/>
      <dgm:spPr/>
      <dgm:t>
        <a:bodyPr/>
        <a:lstStyle/>
        <a:p>
          <a:r>
            <a:rPr lang="en-US" dirty="0"/>
            <a:t>SPID whose corresponding client application did not fetch all result rows to completion</a:t>
          </a:r>
        </a:p>
      </dgm:t>
    </dgm:pt>
    <dgm:pt modelId="{C4547E17-582A-4D6A-A5F5-F1A91ADFAE62}" type="parTrans" cxnId="{A560CA59-2B62-40F5-9C3B-144CCA5E7F23}">
      <dgm:prSet/>
      <dgm:spPr/>
      <dgm:t>
        <a:bodyPr/>
        <a:lstStyle/>
        <a:p>
          <a:endParaRPr lang="en-US"/>
        </a:p>
      </dgm:t>
    </dgm:pt>
    <dgm:pt modelId="{413A36A0-28CF-4783-A7E8-C9E6B5FE2DD4}" type="sibTrans" cxnId="{A560CA59-2B62-40F5-9C3B-144CCA5E7F23}">
      <dgm:prSet/>
      <dgm:spPr/>
      <dgm:t>
        <a:bodyPr/>
        <a:lstStyle/>
        <a:p>
          <a:endParaRPr lang="en-US"/>
        </a:p>
      </dgm:t>
    </dgm:pt>
    <dgm:pt modelId="{C20410C3-F373-4652-83F7-FD969AD74BA2}">
      <dgm:prSet/>
      <dgm:spPr/>
      <dgm:t>
        <a:bodyPr/>
        <a:lstStyle/>
        <a:p>
          <a:r>
            <a:rPr lang="en-US" dirty="0"/>
            <a:t>Sleeping server SPID that has lost track of the Transaction Nesting Level </a:t>
          </a:r>
        </a:p>
      </dgm:t>
    </dgm:pt>
    <dgm:pt modelId="{0AAAEC8C-4833-415B-8F8D-C51CC2F18CA7}" type="parTrans" cxnId="{98981F6C-3954-47F7-AE49-152AE342E103}">
      <dgm:prSet/>
      <dgm:spPr/>
      <dgm:t>
        <a:bodyPr/>
        <a:lstStyle/>
        <a:p>
          <a:endParaRPr lang="en-US"/>
        </a:p>
      </dgm:t>
    </dgm:pt>
    <dgm:pt modelId="{E9007512-368F-4570-A043-F455CD3115F5}" type="sibTrans" cxnId="{98981F6C-3954-47F7-AE49-152AE342E103}">
      <dgm:prSet/>
      <dgm:spPr/>
      <dgm:t>
        <a:bodyPr/>
        <a:lstStyle/>
        <a:p>
          <a:endParaRPr lang="en-US"/>
        </a:p>
      </dgm:t>
    </dgm:pt>
    <dgm:pt modelId="{C59C9267-941A-47EE-A4E7-2FC47F75E4AB}">
      <dgm:prSet/>
      <dgm:spPr/>
      <dgm:t>
        <a:bodyPr/>
        <a:lstStyle/>
        <a:p>
          <a:r>
            <a:rPr lang="en-US" dirty="0"/>
            <a:t>Inappropriate transaction or transaction-isolation level</a:t>
          </a:r>
        </a:p>
      </dgm:t>
    </dgm:pt>
    <dgm:pt modelId="{4A9335AF-32C9-4C6E-BBFE-C218D8906E28}" type="parTrans" cxnId="{FE20CC9C-29E1-4E0B-BF3F-CC831270AC88}">
      <dgm:prSet/>
      <dgm:spPr/>
      <dgm:t>
        <a:bodyPr/>
        <a:lstStyle/>
        <a:p>
          <a:endParaRPr lang="en-US"/>
        </a:p>
      </dgm:t>
    </dgm:pt>
    <dgm:pt modelId="{18D93635-6E36-4156-909B-2AEDA8F2E34E}" type="sibTrans" cxnId="{FE20CC9C-29E1-4E0B-BF3F-CC831270AC88}">
      <dgm:prSet/>
      <dgm:spPr/>
      <dgm:t>
        <a:bodyPr/>
        <a:lstStyle/>
        <a:p>
          <a:endParaRPr lang="en-US"/>
        </a:p>
      </dgm:t>
    </dgm:pt>
    <dgm:pt modelId="{6A566EF7-4FCA-41DD-8414-98453114E8A3}">
      <dgm:prSet/>
      <dgm:spPr/>
      <dgm:t>
        <a:bodyPr/>
        <a:lstStyle/>
        <a:p>
          <a:r>
            <a:rPr lang="en-US" dirty="0"/>
            <a:t>SPID that is in a rollback state</a:t>
          </a:r>
        </a:p>
      </dgm:t>
    </dgm:pt>
    <dgm:pt modelId="{80AA2063-222B-446C-B651-F044794D20B5}" type="parTrans" cxnId="{3B565E6F-AA6F-4EFC-8C49-3BF6394BCA00}">
      <dgm:prSet/>
      <dgm:spPr/>
      <dgm:t>
        <a:bodyPr/>
        <a:lstStyle/>
        <a:p>
          <a:endParaRPr lang="en-US"/>
        </a:p>
      </dgm:t>
    </dgm:pt>
    <dgm:pt modelId="{67252F49-E359-4E1D-AE80-822D9DE5D938}" type="sibTrans" cxnId="{3B565E6F-AA6F-4EFC-8C49-3BF6394BCA00}">
      <dgm:prSet/>
      <dgm:spPr/>
      <dgm:t>
        <a:bodyPr/>
        <a:lstStyle/>
        <a:p>
          <a:endParaRPr lang="en-US"/>
        </a:p>
      </dgm:t>
    </dgm:pt>
    <dgm:pt modelId="{76DB6DA4-CB64-4B87-9463-E2B738F01054}">
      <dgm:prSet/>
      <dgm:spPr/>
      <dgm:t>
        <a:bodyPr/>
        <a:lstStyle/>
        <a:p>
          <a:r>
            <a:rPr lang="en-US" dirty="0"/>
            <a:t>Distributed client/server deadlock</a:t>
          </a:r>
        </a:p>
      </dgm:t>
    </dgm:pt>
    <dgm:pt modelId="{9352AA7D-0FAD-4F00-8C44-27570DEBB61E}" type="parTrans" cxnId="{2B22D49A-BB69-40FB-8705-C3A8E025AE5B}">
      <dgm:prSet/>
      <dgm:spPr/>
      <dgm:t>
        <a:bodyPr/>
        <a:lstStyle/>
        <a:p>
          <a:endParaRPr lang="en-US"/>
        </a:p>
      </dgm:t>
    </dgm:pt>
    <dgm:pt modelId="{CF5955D5-8762-444A-BCD6-F4477BF2074F}" type="sibTrans" cxnId="{2B22D49A-BB69-40FB-8705-C3A8E025AE5B}">
      <dgm:prSet/>
      <dgm:spPr/>
      <dgm:t>
        <a:bodyPr/>
        <a:lstStyle/>
        <a:p>
          <a:endParaRPr lang="en-US"/>
        </a:p>
      </dgm:t>
    </dgm:pt>
    <dgm:pt modelId="{E68A77E5-60BF-4CE7-8C00-2D539B060184}" type="pres">
      <dgm:prSet presAssocID="{ECFD40BE-BC3D-4431-BEB1-1211059BA168}" presName="linear" presStyleCnt="0">
        <dgm:presLayoutVars>
          <dgm:animLvl val="lvl"/>
          <dgm:resizeHandles val="exact"/>
        </dgm:presLayoutVars>
      </dgm:prSet>
      <dgm:spPr/>
    </dgm:pt>
    <dgm:pt modelId="{DF19F846-C296-449F-B88A-E66F71F016FD}" type="pres">
      <dgm:prSet presAssocID="{FC232362-2B77-413F-9A82-CDF67BC4FA83}" presName="parentText" presStyleLbl="node1" presStyleIdx="0" presStyleCnt="7">
        <dgm:presLayoutVars>
          <dgm:chMax val="0"/>
          <dgm:bulletEnabled val="1"/>
        </dgm:presLayoutVars>
      </dgm:prSet>
      <dgm:spPr/>
    </dgm:pt>
    <dgm:pt modelId="{1C616030-ACAA-4F18-9E8B-B13CC1DD3489}" type="pres">
      <dgm:prSet presAssocID="{01EADD65-B46C-4397-A3EF-B4D8FFE1996A}" presName="spacer" presStyleCnt="0"/>
      <dgm:spPr/>
    </dgm:pt>
    <dgm:pt modelId="{DFE51CA4-01C3-4B8D-8E2E-9503BFEF1F09}" type="pres">
      <dgm:prSet presAssocID="{FCA611E9-17CD-4C45-A866-C1A8ACBC34CF}" presName="parentText" presStyleLbl="node1" presStyleIdx="1" presStyleCnt="7">
        <dgm:presLayoutVars>
          <dgm:chMax val="0"/>
          <dgm:bulletEnabled val="1"/>
        </dgm:presLayoutVars>
      </dgm:prSet>
      <dgm:spPr/>
    </dgm:pt>
    <dgm:pt modelId="{C41EC53C-CABF-4485-A775-F787140D624C}" type="pres">
      <dgm:prSet presAssocID="{0E4DA0C8-719E-4556-9221-55F331F107C9}" presName="spacer" presStyleCnt="0"/>
      <dgm:spPr/>
    </dgm:pt>
    <dgm:pt modelId="{C565A0B8-0972-4482-A081-B2C7B978DC6B}" type="pres">
      <dgm:prSet presAssocID="{69BEA656-76AF-45DB-A0DE-1A2848C3D46C}" presName="parentText" presStyleLbl="node1" presStyleIdx="2" presStyleCnt="7">
        <dgm:presLayoutVars>
          <dgm:chMax val="0"/>
          <dgm:bulletEnabled val="1"/>
        </dgm:presLayoutVars>
      </dgm:prSet>
      <dgm:spPr/>
    </dgm:pt>
    <dgm:pt modelId="{EE6DB577-BB9A-48A0-A0C5-1E0BF26795E4}" type="pres">
      <dgm:prSet presAssocID="{413A36A0-28CF-4783-A7E8-C9E6B5FE2DD4}" presName="spacer" presStyleCnt="0"/>
      <dgm:spPr/>
    </dgm:pt>
    <dgm:pt modelId="{D460BB1F-8774-4BD1-AE10-8AF69F82B2EE}" type="pres">
      <dgm:prSet presAssocID="{C20410C3-F373-4652-83F7-FD969AD74BA2}" presName="parentText" presStyleLbl="node1" presStyleIdx="3" presStyleCnt="7">
        <dgm:presLayoutVars>
          <dgm:chMax val="0"/>
          <dgm:bulletEnabled val="1"/>
        </dgm:presLayoutVars>
      </dgm:prSet>
      <dgm:spPr/>
    </dgm:pt>
    <dgm:pt modelId="{3802B8BC-6FC6-4181-AC3E-DF1EF6C8F9D9}" type="pres">
      <dgm:prSet presAssocID="{E9007512-368F-4570-A043-F455CD3115F5}" presName="spacer" presStyleCnt="0"/>
      <dgm:spPr/>
    </dgm:pt>
    <dgm:pt modelId="{2B6CA8C9-E3ED-491C-BDB4-C190371E6EB7}" type="pres">
      <dgm:prSet presAssocID="{C59C9267-941A-47EE-A4E7-2FC47F75E4AB}" presName="parentText" presStyleLbl="node1" presStyleIdx="4" presStyleCnt="7">
        <dgm:presLayoutVars>
          <dgm:chMax val="0"/>
          <dgm:bulletEnabled val="1"/>
        </dgm:presLayoutVars>
      </dgm:prSet>
      <dgm:spPr/>
    </dgm:pt>
    <dgm:pt modelId="{83FFE121-2A74-4442-B21E-46C3C97035A5}" type="pres">
      <dgm:prSet presAssocID="{18D93635-6E36-4156-909B-2AEDA8F2E34E}" presName="spacer" presStyleCnt="0"/>
      <dgm:spPr/>
    </dgm:pt>
    <dgm:pt modelId="{7C4E7952-9547-495F-9883-7DD1565DE347}" type="pres">
      <dgm:prSet presAssocID="{6A566EF7-4FCA-41DD-8414-98453114E8A3}" presName="parentText" presStyleLbl="node1" presStyleIdx="5" presStyleCnt="7">
        <dgm:presLayoutVars>
          <dgm:chMax val="0"/>
          <dgm:bulletEnabled val="1"/>
        </dgm:presLayoutVars>
      </dgm:prSet>
      <dgm:spPr/>
    </dgm:pt>
    <dgm:pt modelId="{3A45218E-5FDB-419A-9568-873E96F915BA}" type="pres">
      <dgm:prSet presAssocID="{67252F49-E359-4E1D-AE80-822D9DE5D938}" presName="spacer" presStyleCnt="0"/>
      <dgm:spPr/>
    </dgm:pt>
    <dgm:pt modelId="{14891E79-2B42-4512-B37F-6E3D3212124D}" type="pres">
      <dgm:prSet presAssocID="{76DB6DA4-CB64-4B87-9463-E2B738F01054}" presName="parentText" presStyleLbl="node1" presStyleIdx="6" presStyleCnt="7">
        <dgm:presLayoutVars>
          <dgm:chMax val="0"/>
          <dgm:bulletEnabled val="1"/>
        </dgm:presLayoutVars>
      </dgm:prSet>
      <dgm:spPr/>
    </dgm:pt>
  </dgm:ptLst>
  <dgm:cxnLst>
    <dgm:cxn modelId="{02AFA561-2531-44FC-9A94-3AF71BBC81E8}" srcId="{ECFD40BE-BC3D-4431-BEB1-1211059BA168}" destId="{FC232362-2B77-413F-9A82-CDF67BC4FA83}" srcOrd="0" destOrd="0" parTransId="{3877BFC9-0AE7-4E02-BB77-5277E197ACD3}" sibTransId="{01EADD65-B46C-4397-A3EF-B4D8FFE1996A}"/>
    <dgm:cxn modelId="{849A376A-55E1-456B-BA52-41156826E3FC}" type="presOf" srcId="{C59C9267-941A-47EE-A4E7-2FC47F75E4AB}" destId="{2B6CA8C9-E3ED-491C-BDB4-C190371E6EB7}" srcOrd="0" destOrd="0" presId="urn:microsoft.com/office/officeart/2005/8/layout/vList2"/>
    <dgm:cxn modelId="{98981F6C-3954-47F7-AE49-152AE342E103}" srcId="{ECFD40BE-BC3D-4431-BEB1-1211059BA168}" destId="{C20410C3-F373-4652-83F7-FD969AD74BA2}" srcOrd="3" destOrd="0" parTransId="{0AAAEC8C-4833-415B-8F8D-C51CC2F18CA7}" sibTransId="{E9007512-368F-4570-A043-F455CD3115F5}"/>
    <dgm:cxn modelId="{3B565E6F-AA6F-4EFC-8C49-3BF6394BCA00}" srcId="{ECFD40BE-BC3D-4431-BEB1-1211059BA168}" destId="{6A566EF7-4FCA-41DD-8414-98453114E8A3}" srcOrd="5" destOrd="0" parTransId="{80AA2063-222B-446C-B651-F044794D20B5}" sibTransId="{67252F49-E359-4E1D-AE80-822D9DE5D938}"/>
    <dgm:cxn modelId="{A560CA59-2B62-40F5-9C3B-144CCA5E7F23}" srcId="{ECFD40BE-BC3D-4431-BEB1-1211059BA168}" destId="{69BEA656-76AF-45DB-A0DE-1A2848C3D46C}" srcOrd="2" destOrd="0" parTransId="{C4547E17-582A-4D6A-A5F5-F1A91ADFAE62}" sibTransId="{413A36A0-28CF-4783-A7E8-C9E6B5FE2DD4}"/>
    <dgm:cxn modelId="{A312E982-82AA-4C64-8495-F061BB549460}" type="presOf" srcId="{C20410C3-F373-4652-83F7-FD969AD74BA2}" destId="{D460BB1F-8774-4BD1-AE10-8AF69F82B2EE}" srcOrd="0" destOrd="0" presId="urn:microsoft.com/office/officeart/2005/8/layout/vList2"/>
    <dgm:cxn modelId="{4916AA86-3BA0-40F6-BC5E-804AE26FEF81}" type="presOf" srcId="{ECFD40BE-BC3D-4431-BEB1-1211059BA168}" destId="{E68A77E5-60BF-4CE7-8C00-2D539B060184}" srcOrd="0" destOrd="0" presId="urn:microsoft.com/office/officeart/2005/8/layout/vList2"/>
    <dgm:cxn modelId="{3AD1348C-654B-4155-8877-26D0C6D117BC}" type="presOf" srcId="{FCA611E9-17CD-4C45-A866-C1A8ACBC34CF}" destId="{DFE51CA4-01C3-4B8D-8E2E-9503BFEF1F09}" srcOrd="0" destOrd="0" presId="urn:microsoft.com/office/officeart/2005/8/layout/vList2"/>
    <dgm:cxn modelId="{BF8AE097-56AF-4B6B-A6F8-64C7B4078165}" srcId="{ECFD40BE-BC3D-4431-BEB1-1211059BA168}" destId="{FCA611E9-17CD-4C45-A866-C1A8ACBC34CF}" srcOrd="1" destOrd="0" parTransId="{A0A0FBCE-A374-4822-9B9C-E06882B1F22A}" sibTransId="{0E4DA0C8-719E-4556-9221-55F331F107C9}"/>
    <dgm:cxn modelId="{2B22D49A-BB69-40FB-8705-C3A8E025AE5B}" srcId="{ECFD40BE-BC3D-4431-BEB1-1211059BA168}" destId="{76DB6DA4-CB64-4B87-9463-E2B738F01054}" srcOrd="6" destOrd="0" parTransId="{9352AA7D-0FAD-4F00-8C44-27570DEBB61E}" sibTransId="{CF5955D5-8762-444A-BCD6-F4477BF2074F}"/>
    <dgm:cxn modelId="{FE20CC9C-29E1-4E0B-BF3F-CC831270AC88}" srcId="{ECFD40BE-BC3D-4431-BEB1-1211059BA168}" destId="{C59C9267-941A-47EE-A4E7-2FC47F75E4AB}" srcOrd="4" destOrd="0" parTransId="{4A9335AF-32C9-4C6E-BBFE-C218D8906E28}" sibTransId="{18D93635-6E36-4156-909B-2AEDA8F2E34E}"/>
    <dgm:cxn modelId="{7D5F53A3-BAA2-48E9-A738-6A39305C6170}" type="presOf" srcId="{69BEA656-76AF-45DB-A0DE-1A2848C3D46C}" destId="{C565A0B8-0972-4482-A081-B2C7B978DC6B}" srcOrd="0" destOrd="0" presId="urn:microsoft.com/office/officeart/2005/8/layout/vList2"/>
    <dgm:cxn modelId="{DA6950E3-FC45-45F1-90A5-BCC6901B551E}" type="presOf" srcId="{76DB6DA4-CB64-4B87-9463-E2B738F01054}" destId="{14891E79-2B42-4512-B37F-6E3D3212124D}" srcOrd="0" destOrd="0" presId="urn:microsoft.com/office/officeart/2005/8/layout/vList2"/>
    <dgm:cxn modelId="{5882ADEE-985D-44AA-9879-424FC5A4F37B}" type="presOf" srcId="{6A566EF7-4FCA-41DD-8414-98453114E8A3}" destId="{7C4E7952-9547-495F-9883-7DD1565DE347}" srcOrd="0" destOrd="0" presId="urn:microsoft.com/office/officeart/2005/8/layout/vList2"/>
    <dgm:cxn modelId="{EDEAB1F8-A4F5-4151-BA23-DDBA9265E47C}" type="presOf" srcId="{FC232362-2B77-413F-9A82-CDF67BC4FA83}" destId="{DF19F846-C296-449F-B88A-E66F71F016FD}" srcOrd="0" destOrd="0" presId="urn:microsoft.com/office/officeart/2005/8/layout/vList2"/>
    <dgm:cxn modelId="{215124AD-7B59-424B-A3FA-ABEED34343D5}" type="presParOf" srcId="{E68A77E5-60BF-4CE7-8C00-2D539B060184}" destId="{DF19F846-C296-449F-B88A-E66F71F016FD}" srcOrd="0" destOrd="0" presId="urn:microsoft.com/office/officeart/2005/8/layout/vList2"/>
    <dgm:cxn modelId="{DA6BF577-04E5-4807-8B74-97D017CEB694}" type="presParOf" srcId="{E68A77E5-60BF-4CE7-8C00-2D539B060184}" destId="{1C616030-ACAA-4F18-9E8B-B13CC1DD3489}" srcOrd="1" destOrd="0" presId="urn:microsoft.com/office/officeart/2005/8/layout/vList2"/>
    <dgm:cxn modelId="{C40DAE90-D931-4E56-AD2C-2463B1344DC3}" type="presParOf" srcId="{E68A77E5-60BF-4CE7-8C00-2D539B060184}" destId="{DFE51CA4-01C3-4B8D-8E2E-9503BFEF1F09}" srcOrd="2" destOrd="0" presId="urn:microsoft.com/office/officeart/2005/8/layout/vList2"/>
    <dgm:cxn modelId="{8508331F-C5C2-4B32-95A5-7AB7FFBCABDF}" type="presParOf" srcId="{E68A77E5-60BF-4CE7-8C00-2D539B060184}" destId="{C41EC53C-CABF-4485-A775-F787140D624C}" srcOrd="3" destOrd="0" presId="urn:microsoft.com/office/officeart/2005/8/layout/vList2"/>
    <dgm:cxn modelId="{047C1319-8D35-4B50-B22F-EDEA3C8BDCB6}" type="presParOf" srcId="{E68A77E5-60BF-4CE7-8C00-2D539B060184}" destId="{C565A0B8-0972-4482-A081-B2C7B978DC6B}" srcOrd="4" destOrd="0" presId="urn:microsoft.com/office/officeart/2005/8/layout/vList2"/>
    <dgm:cxn modelId="{B2CC926E-A9D4-4BE8-96EB-F5A42B11A3F6}" type="presParOf" srcId="{E68A77E5-60BF-4CE7-8C00-2D539B060184}" destId="{EE6DB577-BB9A-48A0-A0C5-1E0BF26795E4}" srcOrd="5" destOrd="0" presId="urn:microsoft.com/office/officeart/2005/8/layout/vList2"/>
    <dgm:cxn modelId="{A65D0ED0-86E7-497B-96F5-9849E26E06B3}" type="presParOf" srcId="{E68A77E5-60BF-4CE7-8C00-2D539B060184}" destId="{D460BB1F-8774-4BD1-AE10-8AF69F82B2EE}" srcOrd="6" destOrd="0" presId="urn:microsoft.com/office/officeart/2005/8/layout/vList2"/>
    <dgm:cxn modelId="{23311241-BB6C-497D-80AE-C83F506946FD}" type="presParOf" srcId="{E68A77E5-60BF-4CE7-8C00-2D539B060184}" destId="{3802B8BC-6FC6-4181-AC3E-DF1EF6C8F9D9}" srcOrd="7" destOrd="0" presId="urn:microsoft.com/office/officeart/2005/8/layout/vList2"/>
    <dgm:cxn modelId="{5C1F978D-811D-42B2-98CB-A6A8B1E837C3}" type="presParOf" srcId="{E68A77E5-60BF-4CE7-8C00-2D539B060184}" destId="{2B6CA8C9-E3ED-491C-BDB4-C190371E6EB7}" srcOrd="8" destOrd="0" presId="urn:microsoft.com/office/officeart/2005/8/layout/vList2"/>
    <dgm:cxn modelId="{4017386D-C75A-40E2-B299-C7AF5FFB600E}" type="presParOf" srcId="{E68A77E5-60BF-4CE7-8C00-2D539B060184}" destId="{83FFE121-2A74-4442-B21E-46C3C97035A5}" srcOrd="9" destOrd="0" presId="urn:microsoft.com/office/officeart/2005/8/layout/vList2"/>
    <dgm:cxn modelId="{C51FA263-B9A0-41D3-BFC0-E16F8EB86D85}" type="presParOf" srcId="{E68A77E5-60BF-4CE7-8C00-2D539B060184}" destId="{7C4E7952-9547-495F-9883-7DD1565DE347}" srcOrd="10" destOrd="0" presId="urn:microsoft.com/office/officeart/2005/8/layout/vList2"/>
    <dgm:cxn modelId="{96D0C23C-D5FA-4541-B4A3-9F2CA19A6ABD}" type="presParOf" srcId="{E68A77E5-60BF-4CE7-8C00-2D539B060184}" destId="{3A45218E-5FDB-419A-9568-873E96F915BA}" srcOrd="11" destOrd="0" presId="urn:microsoft.com/office/officeart/2005/8/layout/vList2"/>
    <dgm:cxn modelId="{4D58AC93-D86D-4514-B820-8E99F5AEDB00}" type="presParOf" srcId="{E68A77E5-60BF-4CE7-8C00-2D539B060184}" destId="{14891E79-2B42-4512-B37F-6E3D3212124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1B1FA953-912C-4F7D-9F99-202F37F89F2A}"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1DED2469-DF36-492B-9C73-1478C52C60D4}">
      <dgm:prSet/>
      <dgm:spPr/>
      <dgm:t>
        <a:bodyPr/>
        <a:lstStyle/>
        <a:p>
          <a:r>
            <a:rPr lang="en-US" baseline="0" dirty="0"/>
            <a:t>Dynamic views</a:t>
          </a:r>
          <a:endParaRPr lang="en-US" dirty="0"/>
        </a:p>
      </dgm:t>
    </dgm:pt>
    <dgm:pt modelId="{8C07B1B5-B537-451D-B508-B45AF69B1E5F}" type="parTrans" cxnId="{DF95C207-90E1-4B69-8FBB-BFB59EAAB4D1}">
      <dgm:prSet/>
      <dgm:spPr/>
      <dgm:t>
        <a:bodyPr/>
        <a:lstStyle/>
        <a:p>
          <a:endParaRPr lang="en-US"/>
        </a:p>
      </dgm:t>
    </dgm:pt>
    <dgm:pt modelId="{BB85832E-CFB3-4E2A-A6B4-D053D792F5DB}" type="sibTrans" cxnId="{DF95C207-90E1-4B69-8FBB-BFB59EAAB4D1}">
      <dgm:prSet/>
      <dgm:spPr/>
      <dgm:t>
        <a:bodyPr/>
        <a:lstStyle/>
        <a:p>
          <a:endParaRPr lang="en-US"/>
        </a:p>
      </dgm:t>
    </dgm:pt>
    <dgm:pt modelId="{08AA5651-EC15-4011-BEFE-A42A0F8C9D36}">
      <dgm:prSet/>
      <dgm:spPr/>
      <dgm:t>
        <a:bodyPr/>
        <a:lstStyle/>
        <a:p>
          <a:r>
            <a:rPr lang="en-US" baseline="0"/>
            <a:t>sys.dm_exec_requests </a:t>
          </a:r>
          <a:endParaRPr lang="en-US" dirty="0"/>
        </a:p>
      </dgm:t>
    </dgm:pt>
    <dgm:pt modelId="{8F190FD2-3132-463F-9A53-C3D0E4D36607}" type="parTrans" cxnId="{476E64D8-472B-4F82-A4C4-5346281CD6A3}">
      <dgm:prSet/>
      <dgm:spPr/>
      <dgm:t>
        <a:bodyPr/>
        <a:lstStyle/>
        <a:p>
          <a:endParaRPr lang="en-US"/>
        </a:p>
      </dgm:t>
    </dgm:pt>
    <dgm:pt modelId="{3095CA4F-90BF-41E1-BE48-96A096B5847F}" type="sibTrans" cxnId="{476E64D8-472B-4F82-A4C4-5346281CD6A3}">
      <dgm:prSet/>
      <dgm:spPr/>
      <dgm:t>
        <a:bodyPr/>
        <a:lstStyle/>
        <a:p>
          <a:endParaRPr lang="en-US"/>
        </a:p>
      </dgm:t>
    </dgm:pt>
    <dgm:pt modelId="{AA8A2AE3-C275-4DE7-9E21-0D0411377965}">
      <dgm:prSet/>
      <dgm:spPr/>
      <dgm:t>
        <a:bodyPr/>
        <a:lstStyle/>
        <a:p>
          <a:r>
            <a:rPr lang="en-US" baseline="0"/>
            <a:t>sys.dm_tran_locks </a:t>
          </a:r>
          <a:endParaRPr lang="en-US" dirty="0"/>
        </a:p>
      </dgm:t>
    </dgm:pt>
    <dgm:pt modelId="{7FFC1FF0-7D85-4DC6-9883-A9521CA693E0}" type="parTrans" cxnId="{CF254E54-86E2-4686-A68E-3D87DD2EA306}">
      <dgm:prSet/>
      <dgm:spPr/>
      <dgm:t>
        <a:bodyPr/>
        <a:lstStyle/>
        <a:p>
          <a:endParaRPr lang="en-US"/>
        </a:p>
      </dgm:t>
    </dgm:pt>
    <dgm:pt modelId="{B7879433-30B2-44AF-B320-E97B6275A7C0}" type="sibTrans" cxnId="{CF254E54-86E2-4686-A68E-3D87DD2EA306}">
      <dgm:prSet/>
      <dgm:spPr/>
      <dgm:t>
        <a:bodyPr/>
        <a:lstStyle/>
        <a:p>
          <a:endParaRPr lang="en-US"/>
        </a:p>
      </dgm:t>
    </dgm:pt>
    <dgm:pt modelId="{F8BB7A38-D0C8-4D5E-BE70-E98AD6909A05}">
      <dgm:prSet/>
      <dgm:spPr/>
      <dgm:t>
        <a:bodyPr/>
        <a:lstStyle/>
        <a:p>
          <a:r>
            <a:rPr lang="en-US" baseline="0" dirty="0"/>
            <a:t>Performance Monitor</a:t>
          </a:r>
          <a:endParaRPr lang="en-US" dirty="0"/>
        </a:p>
      </dgm:t>
    </dgm:pt>
    <dgm:pt modelId="{00DA1D35-1267-44C7-9436-264E4D373BFB}" type="parTrans" cxnId="{FE58F098-C6CD-47F3-9D18-8126B3883BEB}">
      <dgm:prSet/>
      <dgm:spPr/>
      <dgm:t>
        <a:bodyPr/>
        <a:lstStyle/>
        <a:p>
          <a:endParaRPr lang="en-US"/>
        </a:p>
      </dgm:t>
    </dgm:pt>
    <dgm:pt modelId="{098ACF48-5A4B-4D10-9B51-959C512F2C67}" type="sibTrans" cxnId="{FE58F098-C6CD-47F3-9D18-8126B3883BEB}">
      <dgm:prSet/>
      <dgm:spPr/>
      <dgm:t>
        <a:bodyPr/>
        <a:lstStyle/>
        <a:p>
          <a:endParaRPr lang="en-US"/>
        </a:p>
      </dgm:t>
    </dgm:pt>
    <dgm:pt modelId="{8AF55A58-1CAA-43A3-B334-2491E05A9323}">
      <dgm:prSet/>
      <dgm:spPr/>
      <dgm:t>
        <a:bodyPr/>
        <a:lstStyle/>
        <a:p>
          <a:r>
            <a:rPr lang="en-US" baseline="0" dirty="0"/>
            <a:t>Possible High CPU utilization</a:t>
          </a:r>
          <a:endParaRPr lang="en-US" dirty="0"/>
        </a:p>
      </dgm:t>
    </dgm:pt>
    <dgm:pt modelId="{3D7BB688-8F84-4AFA-ABBF-69B3BEDAF153}" type="parTrans" cxnId="{F8C4DF39-88BF-4B79-81B6-B52D10C8C573}">
      <dgm:prSet/>
      <dgm:spPr/>
      <dgm:t>
        <a:bodyPr/>
        <a:lstStyle/>
        <a:p>
          <a:endParaRPr lang="en-US"/>
        </a:p>
      </dgm:t>
    </dgm:pt>
    <dgm:pt modelId="{256AC7C5-2DBB-4FE6-A29A-CA84BBCF9F8B}" type="sibTrans" cxnId="{F8C4DF39-88BF-4B79-81B6-B52D10C8C573}">
      <dgm:prSet/>
      <dgm:spPr/>
      <dgm:t>
        <a:bodyPr/>
        <a:lstStyle/>
        <a:p>
          <a:endParaRPr lang="en-US"/>
        </a:p>
      </dgm:t>
    </dgm:pt>
    <dgm:pt modelId="{9587CFB8-B3F8-4C8D-BFA1-4CB2308815D7}">
      <dgm:prSet/>
      <dgm:spPr/>
      <dgm:t>
        <a:bodyPr/>
        <a:lstStyle/>
        <a:p>
          <a:r>
            <a:rPr lang="en-US" baseline="0" dirty="0"/>
            <a:t>Resolution:</a:t>
          </a:r>
          <a:endParaRPr lang="en-US" dirty="0"/>
        </a:p>
      </dgm:t>
    </dgm:pt>
    <dgm:pt modelId="{190AD0B6-6475-4655-A5C9-B438CD645C3C}" type="parTrans" cxnId="{65BDDD8C-1F25-4AF3-B81E-424CCEB4D7CC}">
      <dgm:prSet/>
      <dgm:spPr/>
      <dgm:t>
        <a:bodyPr/>
        <a:lstStyle/>
        <a:p>
          <a:endParaRPr lang="en-US"/>
        </a:p>
      </dgm:t>
    </dgm:pt>
    <dgm:pt modelId="{AE91B8A7-5542-415E-B797-6224C89D5E82}" type="sibTrans" cxnId="{65BDDD8C-1F25-4AF3-B81E-424CCEB4D7CC}">
      <dgm:prSet/>
      <dgm:spPr/>
      <dgm:t>
        <a:bodyPr/>
        <a:lstStyle/>
        <a:p>
          <a:endParaRPr lang="en-US"/>
        </a:p>
      </dgm:t>
    </dgm:pt>
    <dgm:pt modelId="{623F8DA6-F0EE-4731-9016-BC22092140F5}">
      <dgm:prSet/>
      <dgm:spPr/>
      <dgm:t>
        <a:bodyPr/>
        <a:lstStyle/>
        <a:p>
          <a:r>
            <a:rPr lang="en-US" baseline="0" dirty="0"/>
            <a:t>Check to see for two-part name</a:t>
          </a:r>
          <a:endParaRPr lang="en-US" dirty="0"/>
        </a:p>
      </dgm:t>
    </dgm:pt>
    <dgm:pt modelId="{B1EED9C2-C63D-49C1-9A4B-9545C48357F9}" type="parTrans" cxnId="{C05122DE-A72D-48CD-B92F-2479E470B88A}">
      <dgm:prSet/>
      <dgm:spPr/>
      <dgm:t>
        <a:bodyPr/>
        <a:lstStyle/>
        <a:p>
          <a:endParaRPr lang="en-US"/>
        </a:p>
      </dgm:t>
    </dgm:pt>
    <dgm:pt modelId="{8647C378-41BF-41EA-A6BD-9667EC413072}" type="sibTrans" cxnId="{C05122DE-A72D-48CD-B92F-2479E470B88A}">
      <dgm:prSet/>
      <dgm:spPr/>
      <dgm:t>
        <a:bodyPr/>
        <a:lstStyle/>
        <a:p>
          <a:endParaRPr lang="en-US"/>
        </a:p>
      </dgm:t>
    </dgm:pt>
    <dgm:pt modelId="{8D577584-8827-4383-9EC6-4354AF26C21C}">
      <dgm:prSet/>
      <dgm:spPr/>
      <dgm:t>
        <a:bodyPr/>
        <a:lstStyle/>
        <a:p>
          <a:r>
            <a:rPr lang="en-US" baseline="0" dirty="0"/>
            <a:t>Troubleshoot stored procedure recompile</a:t>
          </a:r>
          <a:endParaRPr lang="en-US" dirty="0"/>
        </a:p>
      </dgm:t>
    </dgm:pt>
    <dgm:pt modelId="{ADC4C447-3BC5-4B7B-9B2A-162A591A26D8}" type="parTrans" cxnId="{A41DA655-4AB2-497B-A0D9-968A10CCED8C}">
      <dgm:prSet/>
      <dgm:spPr/>
      <dgm:t>
        <a:bodyPr/>
        <a:lstStyle/>
        <a:p>
          <a:endParaRPr lang="en-US"/>
        </a:p>
      </dgm:t>
    </dgm:pt>
    <dgm:pt modelId="{726E0C1B-563D-4C07-AB20-B3CA98CD8E0A}" type="sibTrans" cxnId="{A41DA655-4AB2-497B-A0D9-968A10CCED8C}">
      <dgm:prSet/>
      <dgm:spPr/>
      <dgm:t>
        <a:bodyPr/>
        <a:lstStyle/>
        <a:p>
          <a:endParaRPr lang="en-US"/>
        </a:p>
      </dgm:t>
    </dgm:pt>
    <dgm:pt modelId="{4504065C-A225-4A2F-99E7-0C22F2EC1A87}">
      <dgm:prSet/>
      <dgm:spPr/>
      <dgm:t>
        <a:bodyPr/>
        <a:lstStyle/>
        <a:p>
          <a:r>
            <a:rPr lang="en-US" baseline="0" dirty="0"/>
            <a:t>Avoid procedure names with sp_</a:t>
          </a:r>
          <a:endParaRPr lang="en-US" dirty="0"/>
        </a:p>
      </dgm:t>
    </dgm:pt>
    <dgm:pt modelId="{55FA16E8-330A-42F1-A143-61188F492F63}" type="parTrans" cxnId="{845F0FF9-4395-405D-B6DE-70FD9444150A}">
      <dgm:prSet/>
      <dgm:spPr/>
      <dgm:t>
        <a:bodyPr/>
        <a:lstStyle/>
        <a:p>
          <a:endParaRPr lang="en-US"/>
        </a:p>
      </dgm:t>
    </dgm:pt>
    <dgm:pt modelId="{DC5EAD26-DDF7-4442-A4AC-EC9AD5196682}" type="sibTrans" cxnId="{845F0FF9-4395-405D-B6DE-70FD9444150A}">
      <dgm:prSet/>
      <dgm:spPr/>
      <dgm:t>
        <a:bodyPr/>
        <a:lstStyle/>
        <a:p>
          <a:endParaRPr lang="en-US"/>
        </a:p>
      </dgm:t>
    </dgm:pt>
    <dgm:pt modelId="{D461B6FF-12F8-4621-803C-058221788C6E}" type="pres">
      <dgm:prSet presAssocID="{1B1FA953-912C-4F7D-9F99-202F37F89F2A}" presName="Name0" presStyleCnt="0">
        <dgm:presLayoutVars>
          <dgm:dir/>
          <dgm:animLvl val="lvl"/>
          <dgm:resizeHandles val="exact"/>
        </dgm:presLayoutVars>
      </dgm:prSet>
      <dgm:spPr/>
    </dgm:pt>
    <dgm:pt modelId="{08A2D22F-A05D-44D5-9089-39B18F256F75}" type="pres">
      <dgm:prSet presAssocID="{1DED2469-DF36-492B-9C73-1478C52C60D4}" presName="composite" presStyleCnt="0"/>
      <dgm:spPr/>
    </dgm:pt>
    <dgm:pt modelId="{58E14E69-ABD2-45A0-A394-2AA1C2A7F63E}" type="pres">
      <dgm:prSet presAssocID="{1DED2469-DF36-492B-9C73-1478C52C60D4}" presName="parTx" presStyleLbl="alignNode1" presStyleIdx="0" presStyleCnt="3">
        <dgm:presLayoutVars>
          <dgm:chMax val="0"/>
          <dgm:chPref val="0"/>
          <dgm:bulletEnabled val="1"/>
        </dgm:presLayoutVars>
      </dgm:prSet>
      <dgm:spPr/>
    </dgm:pt>
    <dgm:pt modelId="{3F51F6A4-494C-4685-ACE0-BCAD5C7B93B9}" type="pres">
      <dgm:prSet presAssocID="{1DED2469-DF36-492B-9C73-1478C52C60D4}" presName="desTx" presStyleLbl="alignAccFollowNode1" presStyleIdx="0" presStyleCnt="3">
        <dgm:presLayoutVars>
          <dgm:bulletEnabled val="1"/>
        </dgm:presLayoutVars>
      </dgm:prSet>
      <dgm:spPr/>
    </dgm:pt>
    <dgm:pt modelId="{C4D2B880-3783-4132-B932-8929534191AD}" type="pres">
      <dgm:prSet presAssocID="{BB85832E-CFB3-4E2A-A6B4-D053D792F5DB}" presName="space" presStyleCnt="0"/>
      <dgm:spPr/>
    </dgm:pt>
    <dgm:pt modelId="{45ED912E-6872-4AD9-A77F-99B7E415CC00}" type="pres">
      <dgm:prSet presAssocID="{F8BB7A38-D0C8-4D5E-BE70-E98AD6909A05}" presName="composite" presStyleCnt="0"/>
      <dgm:spPr/>
    </dgm:pt>
    <dgm:pt modelId="{902248F6-433A-4AAE-9092-8B2405B7058F}" type="pres">
      <dgm:prSet presAssocID="{F8BB7A38-D0C8-4D5E-BE70-E98AD6909A05}" presName="parTx" presStyleLbl="alignNode1" presStyleIdx="1" presStyleCnt="3">
        <dgm:presLayoutVars>
          <dgm:chMax val="0"/>
          <dgm:chPref val="0"/>
          <dgm:bulletEnabled val="1"/>
        </dgm:presLayoutVars>
      </dgm:prSet>
      <dgm:spPr/>
    </dgm:pt>
    <dgm:pt modelId="{C8C4B347-F5D0-44FA-862C-2EB6FA2BAE86}" type="pres">
      <dgm:prSet presAssocID="{F8BB7A38-D0C8-4D5E-BE70-E98AD6909A05}" presName="desTx" presStyleLbl="alignAccFollowNode1" presStyleIdx="1" presStyleCnt="3">
        <dgm:presLayoutVars>
          <dgm:bulletEnabled val="1"/>
        </dgm:presLayoutVars>
      </dgm:prSet>
      <dgm:spPr/>
    </dgm:pt>
    <dgm:pt modelId="{EFCADD07-3FEE-45D9-A9AC-9AC154EAC8C0}" type="pres">
      <dgm:prSet presAssocID="{098ACF48-5A4B-4D10-9B51-959C512F2C67}" presName="space" presStyleCnt="0"/>
      <dgm:spPr/>
    </dgm:pt>
    <dgm:pt modelId="{38AEA49C-FB17-4B9D-919F-FE13CE93D6A5}" type="pres">
      <dgm:prSet presAssocID="{9587CFB8-B3F8-4C8D-BFA1-4CB2308815D7}" presName="composite" presStyleCnt="0"/>
      <dgm:spPr/>
    </dgm:pt>
    <dgm:pt modelId="{1EE971C4-1E94-4101-8F0E-D137C46C2F38}" type="pres">
      <dgm:prSet presAssocID="{9587CFB8-B3F8-4C8D-BFA1-4CB2308815D7}" presName="parTx" presStyleLbl="alignNode1" presStyleIdx="2" presStyleCnt="3">
        <dgm:presLayoutVars>
          <dgm:chMax val="0"/>
          <dgm:chPref val="0"/>
          <dgm:bulletEnabled val="1"/>
        </dgm:presLayoutVars>
      </dgm:prSet>
      <dgm:spPr/>
    </dgm:pt>
    <dgm:pt modelId="{30944624-1974-4300-8A5F-E61B16231DE6}" type="pres">
      <dgm:prSet presAssocID="{9587CFB8-B3F8-4C8D-BFA1-4CB2308815D7}" presName="desTx" presStyleLbl="alignAccFollowNode1" presStyleIdx="2" presStyleCnt="3">
        <dgm:presLayoutVars>
          <dgm:bulletEnabled val="1"/>
        </dgm:presLayoutVars>
      </dgm:prSet>
      <dgm:spPr/>
    </dgm:pt>
  </dgm:ptLst>
  <dgm:cxnLst>
    <dgm:cxn modelId="{DF95C207-90E1-4B69-8FBB-BFB59EAAB4D1}" srcId="{1B1FA953-912C-4F7D-9F99-202F37F89F2A}" destId="{1DED2469-DF36-492B-9C73-1478C52C60D4}" srcOrd="0" destOrd="0" parTransId="{8C07B1B5-B537-451D-B508-B45AF69B1E5F}" sibTransId="{BB85832E-CFB3-4E2A-A6B4-D053D792F5DB}"/>
    <dgm:cxn modelId="{2649191C-DAE1-4155-A05E-944DBC3C5B33}" type="presOf" srcId="{F8BB7A38-D0C8-4D5E-BE70-E98AD6909A05}" destId="{902248F6-433A-4AAE-9092-8B2405B7058F}" srcOrd="0" destOrd="0" presId="urn:microsoft.com/office/officeart/2005/8/layout/hList1"/>
    <dgm:cxn modelId="{C3F7F932-4AB7-45BC-9C51-0897A223D096}" type="presOf" srcId="{8D577584-8827-4383-9EC6-4354AF26C21C}" destId="{30944624-1974-4300-8A5F-E61B16231DE6}" srcOrd="0" destOrd="1" presId="urn:microsoft.com/office/officeart/2005/8/layout/hList1"/>
    <dgm:cxn modelId="{F8C4DF39-88BF-4B79-81B6-B52D10C8C573}" srcId="{F8BB7A38-D0C8-4D5E-BE70-E98AD6909A05}" destId="{8AF55A58-1CAA-43A3-B334-2491E05A9323}" srcOrd="0" destOrd="0" parTransId="{3D7BB688-8F84-4AFA-ABBF-69B3BEDAF153}" sibTransId="{256AC7C5-2DBB-4FE6-A29A-CA84BBCF9F8B}"/>
    <dgm:cxn modelId="{D8F4295D-AA62-4D9B-9558-C6B45CD761E5}" type="presOf" srcId="{08AA5651-EC15-4011-BEFE-A42A0F8C9D36}" destId="{3F51F6A4-494C-4685-ACE0-BCAD5C7B93B9}" srcOrd="0" destOrd="0" presId="urn:microsoft.com/office/officeart/2005/8/layout/hList1"/>
    <dgm:cxn modelId="{5E5F0749-4088-47D9-A298-3A956529B40A}" type="presOf" srcId="{1DED2469-DF36-492B-9C73-1478C52C60D4}" destId="{58E14E69-ABD2-45A0-A394-2AA1C2A7F63E}" srcOrd="0" destOrd="0" presId="urn:microsoft.com/office/officeart/2005/8/layout/hList1"/>
    <dgm:cxn modelId="{7E996973-FB73-45CA-9A75-6222886FC9BF}" type="presOf" srcId="{1B1FA953-912C-4F7D-9F99-202F37F89F2A}" destId="{D461B6FF-12F8-4621-803C-058221788C6E}" srcOrd="0" destOrd="0" presId="urn:microsoft.com/office/officeart/2005/8/layout/hList1"/>
    <dgm:cxn modelId="{CF254E54-86E2-4686-A68E-3D87DD2EA306}" srcId="{1DED2469-DF36-492B-9C73-1478C52C60D4}" destId="{AA8A2AE3-C275-4DE7-9E21-0D0411377965}" srcOrd="1" destOrd="0" parTransId="{7FFC1FF0-7D85-4DC6-9883-A9521CA693E0}" sibTransId="{B7879433-30B2-44AF-B320-E97B6275A7C0}"/>
    <dgm:cxn modelId="{A7CF7C55-0450-41E9-A7B0-3D5AFBD5206F}" type="presOf" srcId="{9587CFB8-B3F8-4C8D-BFA1-4CB2308815D7}" destId="{1EE971C4-1E94-4101-8F0E-D137C46C2F38}" srcOrd="0" destOrd="0" presId="urn:microsoft.com/office/officeart/2005/8/layout/hList1"/>
    <dgm:cxn modelId="{A41DA655-4AB2-497B-A0D9-968A10CCED8C}" srcId="{9587CFB8-B3F8-4C8D-BFA1-4CB2308815D7}" destId="{8D577584-8827-4383-9EC6-4354AF26C21C}" srcOrd="1" destOrd="0" parTransId="{ADC4C447-3BC5-4B7B-9B2A-162A591A26D8}" sibTransId="{726E0C1B-563D-4C07-AB20-B3CA98CD8E0A}"/>
    <dgm:cxn modelId="{0F3F9F89-8A24-4383-8816-F7D06CCE450B}" type="presOf" srcId="{623F8DA6-F0EE-4731-9016-BC22092140F5}" destId="{30944624-1974-4300-8A5F-E61B16231DE6}" srcOrd="0" destOrd="0" presId="urn:microsoft.com/office/officeart/2005/8/layout/hList1"/>
    <dgm:cxn modelId="{65BDDD8C-1F25-4AF3-B81E-424CCEB4D7CC}" srcId="{1B1FA953-912C-4F7D-9F99-202F37F89F2A}" destId="{9587CFB8-B3F8-4C8D-BFA1-4CB2308815D7}" srcOrd="2" destOrd="0" parTransId="{190AD0B6-6475-4655-A5C9-B438CD645C3C}" sibTransId="{AE91B8A7-5542-415E-B797-6224C89D5E82}"/>
    <dgm:cxn modelId="{FE58F098-C6CD-47F3-9D18-8126B3883BEB}" srcId="{1B1FA953-912C-4F7D-9F99-202F37F89F2A}" destId="{F8BB7A38-D0C8-4D5E-BE70-E98AD6909A05}" srcOrd="1" destOrd="0" parTransId="{00DA1D35-1267-44C7-9436-264E4D373BFB}" sibTransId="{098ACF48-5A4B-4D10-9B51-959C512F2C67}"/>
    <dgm:cxn modelId="{398BD2A8-E61A-4EF9-862D-28459E6EE282}" type="presOf" srcId="{8AF55A58-1CAA-43A3-B334-2491E05A9323}" destId="{C8C4B347-F5D0-44FA-862C-2EB6FA2BAE86}" srcOrd="0" destOrd="0" presId="urn:microsoft.com/office/officeart/2005/8/layout/hList1"/>
    <dgm:cxn modelId="{D0C14DB4-0EF0-4F19-B28F-C21F22EA5628}" type="presOf" srcId="{4504065C-A225-4A2F-99E7-0C22F2EC1A87}" destId="{30944624-1974-4300-8A5F-E61B16231DE6}" srcOrd="0" destOrd="2" presId="urn:microsoft.com/office/officeart/2005/8/layout/hList1"/>
    <dgm:cxn modelId="{476E64D8-472B-4F82-A4C4-5346281CD6A3}" srcId="{1DED2469-DF36-492B-9C73-1478C52C60D4}" destId="{08AA5651-EC15-4011-BEFE-A42A0F8C9D36}" srcOrd="0" destOrd="0" parTransId="{8F190FD2-3132-463F-9A53-C3D0E4D36607}" sibTransId="{3095CA4F-90BF-41E1-BE48-96A096B5847F}"/>
    <dgm:cxn modelId="{AB9F6BDA-C94C-4365-B4CE-D422A8984AB9}" type="presOf" srcId="{AA8A2AE3-C275-4DE7-9E21-0D0411377965}" destId="{3F51F6A4-494C-4685-ACE0-BCAD5C7B93B9}" srcOrd="0" destOrd="1" presId="urn:microsoft.com/office/officeart/2005/8/layout/hList1"/>
    <dgm:cxn modelId="{C05122DE-A72D-48CD-B92F-2479E470B88A}" srcId="{9587CFB8-B3F8-4C8D-BFA1-4CB2308815D7}" destId="{623F8DA6-F0EE-4731-9016-BC22092140F5}" srcOrd="0" destOrd="0" parTransId="{B1EED9C2-C63D-49C1-9A4B-9545C48357F9}" sibTransId="{8647C378-41BF-41EA-A6BD-9667EC413072}"/>
    <dgm:cxn modelId="{845F0FF9-4395-405D-B6DE-70FD9444150A}" srcId="{9587CFB8-B3F8-4C8D-BFA1-4CB2308815D7}" destId="{4504065C-A225-4A2F-99E7-0C22F2EC1A87}" srcOrd="2" destOrd="0" parTransId="{55FA16E8-330A-42F1-A143-61188F492F63}" sibTransId="{DC5EAD26-DDF7-4442-A4AC-EC9AD5196682}"/>
    <dgm:cxn modelId="{6105C817-594C-47F2-837D-DE06B7A3AE9B}" type="presParOf" srcId="{D461B6FF-12F8-4621-803C-058221788C6E}" destId="{08A2D22F-A05D-44D5-9089-39B18F256F75}" srcOrd="0" destOrd="0" presId="urn:microsoft.com/office/officeart/2005/8/layout/hList1"/>
    <dgm:cxn modelId="{AA53B1B6-E24D-4886-A5CE-BECA208CDF9D}" type="presParOf" srcId="{08A2D22F-A05D-44D5-9089-39B18F256F75}" destId="{58E14E69-ABD2-45A0-A394-2AA1C2A7F63E}" srcOrd="0" destOrd="0" presId="urn:microsoft.com/office/officeart/2005/8/layout/hList1"/>
    <dgm:cxn modelId="{D964FD28-1E41-469E-8DF7-CF67B46F3523}" type="presParOf" srcId="{08A2D22F-A05D-44D5-9089-39B18F256F75}" destId="{3F51F6A4-494C-4685-ACE0-BCAD5C7B93B9}" srcOrd="1" destOrd="0" presId="urn:microsoft.com/office/officeart/2005/8/layout/hList1"/>
    <dgm:cxn modelId="{663856D1-C6D7-4A2B-8AEE-9EA636588770}" type="presParOf" srcId="{D461B6FF-12F8-4621-803C-058221788C6E}" destId="{C4D2B880-3783-4132-B932-8929534191AD}" srcOrd="1" destOrd="0" presId="urn:microsoft.com/office/officeart/2005/8/layout/hList1"/>
    <dgm:cxn modelId="{AF6E2B82-2F6A-48F1-A22A-9F472FE9A9EF}" type="presParOf" srcId="{D461B6FF-12F8-4621-803C-058221788C6E}" destId="{45ED912E-6872-4AD9-A77F-99B7E415CC00}" srcOrd="2" destOrd="0" presId="urn:microsoft.com/office/officeart/2005/8/layout/hList1"/>
    <dgm:cxn modelId="{714C1BEB-B6F4-4E5D-A8CA-E4C143C1F238}" type="presParOf" srcId="{45ED912E-6872-4AD9-A77F-99B7E415CC00}" destId="{902248F6-433A-4AAE-9092-8B2405B7058F}" srcOrd="0" destOrd="0" presId="urn:microsoft.com/office/officeart/2005/8/layout/hList1"/>
    <dgm:cxn modelId="{8EF3AC1D-4D29-46AC-B057-07055FF315B7}" type="presParOf" srcId="{45ED912E-6872-4AD9-A77F-99B7E415CC00}" destId="{C8C4B347-F5D0-44FA-862C-2EB6FA2BAE86}" srcOrd="1" destOrd="0" presId="urn:microsoft.com/office/officeart/2005/8/layout/hList1"/>
    <dgm:cxn modelId="{1AAADA94-212E-4E0B-81DC-AC79DE536524}" type="presParOf" srcId="{D461B6FF-12F8-4621-803C-058221788C6E}" destId="{EFCADD07-3FEE-45D9-A9AC-9AC154EAC8C0}" srcOrd="3" destOrd="0" presId="urn:microsoft.com/office/officeart/2005/8/layout/hList1"/>
    <dgm:cxn modelId="{0F9F9709-E94F-43F3-A9C9-7CF1FDACC121}" type="presParOf" srcId="{D461B6FF-12F8-4621-803C-058221788C6E}" destId="{38AEA49C-FB17-4B9D-919F-FE13CE93D6A5}" srcOrd="4" destOrd="0" presId="urn:microsoft.com/office/officeart/2005/8/layout/hList1"/>
    <dgm:cxn modelId="{D8BF5A65-3809-43ED-8A44-F5D06F7F4F95}" type="presParOf" srcId="{38AEA49C-FB17-4B9D-919F-FE13CE93D6A5}" destId="{1EE971C4-1E94-4101-8F0E-D137C46C2F38}" srcOrd="0" destOrd="0" presId="urn:microsoft.com/office/officeart/2005/8/layout/hList1"/>
    <dgm:cxn modelId="{E8E213A0-940A-4AF0-AF65-A9631DC9E63D}" type="presParOf" srcId="{38AEA49C-FB17-4B9D-919F-FE13CE93D6A5}" destId="{30944624-1974-4300-8A5F-E61B16231DE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1EB6843E-91E5-4AA3-A6F6-F81AF1DC4A0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71E8FBC-3ED6-4729-92AF-F730CAB1F137}">
      <dgm:prSet/>
      <dgm:spPr/>
      <dgm:t>
        <a:bodyPr/>
        <a:lstStyle/>
        <a:p>
          <a:r>
            <a:rPr lang="en-US" baseline="0" dirty="0"/>
            <a:t>Keep transactions short and in one batch.</a:t>
          </a:r>
          <a:endParaRPr lang="en-US" dirty="0"/>
        </a:p>
      </dgm:t>
    </dgm:pt>
    <dgm:pt modelId="{A623E624-D3B7-47D5-9A11-26BCD51F4AA4}" type="parTrans" cxnId="{80A63523-6631-48CB-807D-DD524961071A}">
      <dgm:prSet/>
      <dgm:spPr/>
      <dgm:t>
        <a:bodyPr/>
        <a:lstStyle/>
        <a:p>
          <a:endParaRPr lang="en-US"/>
        </a:p>
      </dgm:t>
    </dgm:pt>
    <dgm:pt modelId="{A76E89E4-1DBF-4FDC-8197-0173CE513F03}" type="sibTrans" cxnId="{80A63523-6631-48CB-807D-DD524961071A}">
      <dgm:prSet/>
      <dgm:spPr/>
      <dgm:t>
        <a:bodyPr/>
        <a:lstStyle/>
        <a:p>
          <a:endParaRPr lang="en-US"/>
        </a:p>
      </dgm:t>
    </dgm:pt>
    <dgm:pt modelId="{59A6CD86-99B6-4D22-9688-D8321F3F6884}">
      <dgm:prSet/>
      <dgm:spPr/>
      <dgm:t>
        <a:bodyPr/>
        <a:lstStyle/>
        <a:p>
          <a:r>
            <a:rPr lang="en-US" baseline="0" dirty="0"/>
            <a:t>Avoid user interaction in a transaction.</a:t>
          </a:r>
          <a:endParaRPr lang="en-US" dirty="0"/>
        </a:p>
      </dgm:t>
    </dgm:pt>
    <dgm:pt modelId="{1DA6B657-17C0-4980-ADAC-5C5955B76865}" type="parTrans" cxnId="{D49AF9D7-172C-4B7E-84D3-AC3E78A8A57D}">
      <dgm:prSet/>
      <dgm:spPr/>
      <dgm:t>
        <a:bodyPr/>
        <a:lstStyle/>
        <a:p>
          <a:endParaRPr lang="en-US"/>
        </a:p>
      </dgm:t>
    </dgm:pt>
    <dgm:pt modelId="{F144C56C-A004-44F7-ABC1-E07C7D425FF1}" type="sibTrans" cxnId="{D49AF9D7-172C-4B7E-84D3-AC3E78A8A57D}">
      <dgm:prSet/>
      <dgm:spPr/>
      <dgm:t>
        <a:bodyPr/>
        <a:lstStyle/>
        <a:p>
          <a:endParaRPr lang="en-US"/>
        </a:p>
      </dgm:t>
    </dgm:pt>
    <dgm:pt modelId="{8CD5E60D-2159-4B2B-8C8D-B005E70ED570}">
      <dgm:prSet/>
      <dgm:spPr/>
      <dgm:t>
        <a:bodyPr/>
        <a:lstStyle/>
        <a:p>
          <a:r>
            <a:rPr lang="en-US" baseline="0" dirty="0"/>
            <a:t>Use proper indexing – The Database Tuning Advisor index analysis.</a:t>
          </a:r>
          <a:endParaRPr lang="en-US" dirty="0"/>
        </a:p>
      </dgm:t>
    </dgm:pt>
    <dgm:pt modelId="{47B39463-C9AB-4A89-95F5-773248B960B0}" type="parTrans" cxnId="{1D88846C-F92F-4F7D-A498-39043ACA3DFE}">
      <dgm:prSet/>
      <dgm:spPr/>
      <dgm:t>
        <a:bodyPr/>
        <a:lstStyle/>
        <a:p>
          <a:endParaRPr lang="en-US"/>
        </a:p>
      </dgm:t>
    </dgm:pt>
    <dgm:pt modelId="{5FDDD17D-DD6F-4296-B1E3-BA1CEC28E422}" type="sibTrans" cxnId="{1D88846C-F92F-4F7D-A498-39043ACA3DFE}">
      <dgm:prSet/>
      <dgm:spPr/>
      <dgm:t>
        <a:bodyPr/>
        <a:lstStyle/>
        <a:p>
          <a:endParaRPr lang="en-US"/>
        </a:p>
      </dgm:t>
    </dgm:pt>
    <dgm:pt modelId="{E8D66CED-C2F1-49BE-962D-03448E8DE085}">
      <dgm:prSet/>
      <dgm:spPr/>
      <dgm:t>
        <a:bodyPr/>
        <a:lstStyle/>
        <a:p>
          <a:r>
            <a:rPr lang="en-US" baseline="0" dirty="0"/>
            <a:t>Beware of the implicit transactions.</a:t>
          </a:r>
          <a:endParaRPr lang="en-US" dirty="0"/>
        </a:p>
      </dgm:t>
    </dgm:pt>
    <dgm:pt modelId="{01F286EC-4770-43F5-86F1-66AA5884C010}" type="parTrans" cxnId="{5E5AD090-F559-4DBC-8581-4F22D59F9E4E}">
      <dgm:prSet/>
      <dgm:spPr/>
      <dgm:t>
        <a:bodyPr/>
        <a:lstStyle/>
        <a:p>
          <a:endParaRPr lang="en-US"/>
        </a:p>
      </dgm:t>
    </dgm:pt>
    <dgm:pt modelId="{DB190BD7-FEF0-4D5D-8449-0524A7AF75DC}" type="sibTrans" cxnId="{5E5AD090-F559-4DBC-8581-4F22D59F9E4E}">
      <dgm:prSet/>
      <dgm:spPr/>
      <dgm:t>
        <a:bodyPr/>
        <a:lstStyle/>
        <a:p>
          <a:endParaRPr lang="en-US"/>
        </a:p>
      </dgm:t>
    </dgm:pt>
    <dgm:pt modelId="{462CF09B-3935-4B06-9428-0140823874D7}">
      <dgm:prSet/>
      <dgm:spPr/>
      <dgm:t>
        <a:bodyPr/>
        <a:lstStyle/>
        <a:p>
          <a:r>
            <a:rPr lang="en-US" baseline="0" dirty="0"/>
            <a:t>Reduce the isolation level to lowest possible.</a:t>
          </a:r>
          <a:endParaRPr lang="en-US" dirty="0"/>
        </a:p>
      </dgm:t>
    </dgm:pt>
    <dgm:pt modelId="{E54AE75D-4B37-4549-9EAF-858D7AB849A9}" type="parTrans" cxnId="{FA46AD1D-CC6D-4808-A0CA-F134CFC7BBB3}">
      <dgm:prSet/>
      <dgm:spPr/>
      <dgm:t>
        <a:bodyPr/>
        <a:lstStyle/>
        <a:p>
          <a:endParaRPr lang="en-US"/>
        </a:p>
      </dgm:t>
    </dgm:pt>
    <dgm:pt modelId="{BB015CB2-BE5B-4C23-A814-308F94639DC4}" type="sibTrans" cxnId="{FA46AD1D-CC6D-4808-A0CA-F134CFC7BBB3}">
      <dgm:prSet/>
      <dgm:spPr/>
      <dgm:t>
        <a:bodyPr/>
        <a:lstStyle/>
        <a:p>
          <a:endParaRPr lang="en-US"/>
        </a:p>
      </dgm:t>
    </dgm:pt>
    <dgm:pt modelId="{DB96E8B4-7E4D-431E-B7B6-55BB30FECDDB}">
      <dgm:prSet/>
      <dgm:spPr/>
      <dgm:t>
        <a:bodyPr/>
        <a:lstStyle/>
        <a:p>
          <a:r>
            <a:rPr lang="en-US" baseline="0" dirty="0"/>
            <a:t>Locking hint, Index hint, Join hint.</a:t>
          </a:r>
          <a:endParaRPr lang="en-US" dirty="0"/>
        </a:p>
      </dgm:t>
    </dgm:pt>
    <dgm:pt modelId="{420FC0D0-FDE1-4DF3-A904-8810F8CEDC0D}" type="parTrans" cxnId="{1B0C4BCF-AC2D-4253-9F96-933F83D2CB37}">
      <dgm:prSet/>
      <dgm:spPr/>
      <dgm:t>
        <a:bodyPr/>
        <a:lstStyle/>
        <a:p>
          <a:endParaRPr lang="en-US"/>
        </a:p>
      </dgm:t>
    </dgm:pt>
    <dgm:pt modelId="{702507BB-45F7-4A93-B9A1-B4E8A7170C02}" type="sibTrans" cxnId="{1B0C4BCF-AC2D-4253-9F96-933F83D2CB37}">
      <dgm:prSet/>
      <dgm:spPr/>
      <dgm:t>
        <a:bodyPr/>
        <a:lstStyle/>
        <a:p>
          <a:endParaRPr lang="en-US"/>
        </a:p>
      </dgm:t>
    </dgm:pt>
    <dgm:pt modelId="{56571198-DDB9-47A2-95BF-BA84CF85C205}">
      <dgm:prSet/>
      <dgm:spPr/>
      <dgm:t>
        <a:bodyPr/>
        <a:lstStyle/>
        <a:p>
          <a:r>
            <a:rPr lang="en-US" baseline="0" dirty="0"/>
            <a:t>Roll back when canceling;  Roll back on any error or timeout. </a:t>
          </a:r>
          <a:endParaRPr lang="en-US" dirty="0"/>
        </a:p>
      </dgm:t>
    </dgm:pt>
    <dgm:pt modelId="{357D1872-FCA0-4D40-8060-F0A00F260715}" type="parTrans" cxnId="{F4B12F51-CAEE-4271-8DD1-1C8E83D02496}">
      <dgm:prSet/>
      <dgm:spPr/>
      <dgm:t>
        <a:bodyPr/>
        <a:lstStyle/>
        <a:p>
          <a:endParaRPr lang="en-US"/>
        </a:p>
      </dgm:t>
    </dgm:pt>
    <dgm:pt modelId="{CC47A79E-451C-4F18-92DE-3320E1A2AE55}" type="sibTrans" cxnId="{F4B12F51-CAEE-4271-8DD1-1C8E83D02496}">
      <dgm:prSet/>
      <dgm:spPr/>
      <dgm:t>
        <a:bodyPr/>
        <a:lstStyle/>
        <a:p>
          <a:endParaRPr lang="en-US"/>
        </a:p>
      </dgm:t>
    </dgm:pt>
    <dgm:pt modelId="{1ADB1ADA-A5D6-455A-9A00-DBB10A4C5ED4}">
      <dgm:prSet/>
      <dgm:spPr/>
      <dgm:t>
        <a:bodyPr/>
        <a:lstStyle/>
        <a:p>
          <a:r>
            <a:rPr lang="en-US" baseline="0" dirty="0"/>
            <a:t>Apply a stress test at maximum projected user load before deployment.</a:t>
          </a:r>
          <a:endParaRPr lang="en-US" dirty="0"/>
        </a:p>
      </dgm:t>
    </dgm:pt>
    <dgm:pt modelId="{1354FD20-9623-473F-8AB7-CD645BF0B6FF}" type="parTrans" cxnId="{9AD4EF96-8DE1-4BCF-B53C-B332CCB44381}">
      <dgm:prSet/>
      <dgm:spPr/>
      <dgm:t>
        <a:bodyPr/>
        <a:lstStyle/>
        <a:p>
          <a:endParaRPr lang="en-US"/>
        </a:p>
      </dgm:t>
    </dgm:pt>
    <dgm:pt modelId="{BAD426BD-B3F7-4A3B-A6B2-9EADCD0F7A55}" type="sibTrans" cxnId="{9AD4EF96-8DE1-4BCF-B53C-B332CCB44381}">
      <dgm:prSet/>
      <dgm:spPr/>
      <dgm:t>
        <a:bodyPr/>
        <a:lstStyle/>
        <a:p>
          <a:endParaRPr lang="en-US"/>
        </a:p>
      </dgm:t>
    </dgm:pt>
    <dgm:pt modelId="{346CDC47-6926-4CDC-A8E8-303F8685CD2A}" type="pres">
      <dgm:prSet presAssocID="{1EB6843E-91E5-4AA3-A6F6-F81AF1DC4A06}" presName="linear" presStyleCnt="0">
        <dgm:presLayoutVars>
          <dgm:animLvl val="lvl"/>
          <dgm:resizeHandles val="exact"/>
        </dgm:presLayoutVars>
      </dgm:prSet>
      <dgm:spPr/>
    </dgm:pt>
    <dgm:pt modelId="{C66C8C11-9C49-4EEA-B15B-801A9B84BC57}" type="pres">
      <dgm:prSet presAssocID="{C71E8FBC-3ED6-4729-92AF-F730CAB1F137}" presName="parentText" presStyleLbl="node1" presStyleIdx="0" presStyleCnt="8">
        <dgm:presLayoutVars>
          <dgm:chMax val="0"/>
          <dgm:bulletEnabled val="1"/>
        </dgm:presLayoutVars>
      </dgm:prSet>
      <dgm:spPr/>
    </dgm:pt>
    <dgm:pt modelId="{51ADAFAF-8802-4DFE-964B-9C401833725A}" type="pres">
      <dgm:prSet presAssocID="{A76E89E4-1DBF-4FDC-8197-0173CE513F03}" presName="spacer" presStyleCnt="0"/>
      <dgm:spPr/>
    </dgm:pt>
    <dgm:pt modelId="{CC27A6EF-46B3-4187-A1EC-86CD35F83DFC}" type="pres">
      <dgm:prSet presAssocID="{59A6CD86-99B6-4D22-9688-D8321F3F6884}" presName="parentText" presStyleLbl="node1" presStyleIdx="1" presStyleCnt="8">
        <dgm:presLayoutVars>
          <dgm:chMax val="0"/>
          <dgm:bulletEnabled val="1"/>
        </dgm:presLayoutVars>
      </dgm:prSet>
      <dgm:spPr/>
    </dgm:pt>
    <dgm:pt modelId="{8232F2B3-668C-4495-A4C9-9B71893875C9}" type="pres">
      <dgm:prSet presAssocID="{F144C56C-A004-44F7-ABC1-E07C7D425FF1}" presName="spacer" presStyleCnt="0"/>
      <dgm:spPr/>
    </dgm:pt>
    <dgm:pt modelId="{513792C4-552D-41A5-B3A7-2F4C868F8AE9}" type="pres">
      <dgm:prSet presAssocID="{8CD5E60D-2159-4B2B-8C8D-B005E70ED570}" presName="parentText" presStyleLbl="node1" presStyleIdx="2" presStyleCnt="8">
        <dgm:presLayoutVars>
          <dgm:chMax val="0"/>
          <dgm:bulletEnabled val="1"/>
        </dgm:presLayoutVars>
      </dgm:prSet>
      <dgm:spPr/>
    </dgm:pt>
    <dgm:pt modelId="{C267D825-F259-44F4-B913-F3338439426A}" type="pres">
      <dgm:prSet presAssocID="{5FDDD17D-DD6F-4296-B1E3-BA1CEC28E422}" presName="spacer" presStyleCnt="0"/>
      <dgm:spPr/>
    </dgm:pt>
    <dgm:pt modelId="{C45A27D3-A74A-4105-909C-1EFE80AF5E82}" type="pres">
      <dgm:prSet presAssocID="{E8D66CED-C2F1-49BE-962D-03448E8DE085}" presName="parentText" presStyleLbl="node1" presStyleIdx="3" presStyleCnt="8">
        <dgm:presLayoutVars>
          <dgm:chMax val="0"/>
          <dgm:bulletEnabled val="1"/>
        </dgm:presLayoutVars>
      </dgm:prSet>
      <dgm:spPr/>
    </dgm:pt>
    <dgm:pt modelId="{34A54B1E-ED2A-4E2E-8BB8-7F84633FC200}" type="pres">
      <dgm:prSet presAssocID="{DB190BD7-FEF0-4D5D-8449-0524A7AF75DC}" presName="spacer" presStyleCnt="0"/>
      <dgm:spPr/>
    </dgm:pt>
    <dgm:pt modelId="{E24DD4A6-42AF-41E5-8451-97DB16678A96}" type="pres">
      <dgm:prSet presAssocID="{462CF09B-3935-4B06-9428-0140823874D7}" presName="parentText" presStyleLbl="node1" presStyleIdx="4" presStyleCnt="8">
        <dgm:presLayoutVars>
          <dgm:chMax val="0"/>
          <dgm:bulletEnabled val="1"/>
        </dgm:presLayoutVars>
      </dgm:prSet>
      <dgm:spPr/>
    </dgm:pt>
    <dgm:pt modelId="{1696D785-DDDC-43FF-8A68-EA9A0E398AF0}" type="pres">
      <dgm:prSet presAssocID="{BB015CB2-BE5B-4C23-A814-308F94639DC4}" presName="spacer" presStyleCnt="0"/>
      <dgm:spPr/>
    </dgm:pt>
    <dgm:pt modelId="{66491600-4129-4BB3-9180-C1B5BCB7C6B0}" type="pres">
      <dgm:prSet presAssocID="{DB96E8B4-7E4D-431E-B7B6-55BB30FECDDB}" presName="parentText" presStyleLbl="node1" presStyleIdx="5" presStyleCnt="8">
        <dgm:presLayoutVars>
          <dgm:chMax val="0"/>
          <dgm:bulletEnabled val="1"/>
        </dgm:presLayoutVars>
      </dgm:prSet>
      <dgm:spPr/>
    </dgm:pt>
    <dgm:pt modelId="{7D50BA65-3873-46AF-9BCB-C768C094F9DC}" type="pres">
      <dgm:prSet presAssocID="{702507BB-45F7-4A93-B9A1-B4E8A7170C02}" presName="spacer" presStyleCnt="0"/>
      <dgm:spPr/>
    </dgm:pt>
    <dgm:pt modelId="{1011F628-6F39-4477-91B6-98E1FAE787CF}" type="pres">
      <dgm:prSet presAssocID="{56571198-DDB9-47A2-95BF-BA84CF85C205}" presName="parentText" presStyleLbl="node1" presStyleIdx="6" presStyleCnt="8">
        <dgm:presLayoutVars>
          <dgm:chMax val="0"/>
          <dgm:bulletEnabled val="1"/>
        </dgm:presLayoutVars>
      </dgm:prSet>
      <dgm:spPr/>
    </dgm:pt>
    <dgm:pt modelId="{5864AEB1-8915-4CAE-90A6-B00519350892}" type="pres">
      <dgm:prSet presAssocID="{CC47A79E-451C-4F18-92DE-3320E1A2AE55}" presName="spacer" presStyleCnt="0"/>
      <dgm:spPr/>
    </dgm:pt>
    <dgm:pt modelId="{8934FD68-4F96-40B5-8777-0250AA4ADEFC}" type="pres">
      <dgm:prSet presAssocID="{1ADB1ADA-A5D6-455A-9A00-DBB10A4C5ED4}" presName="parentText" presStyleLbl="node1" presStyleIdx="7" presStyleCnt="8">
        <dgm:presLayoutVars>
          <dgm:chMax val="0"/>
          <dgm:bulletEnabled val="1"/>
        </dgm:presLayoutVars>
      </dgm:prSet>
      <dgm:spPr/>
    </dgm:pt>
  </dgm:ptLst>
  <dgm:cxnLst>
    <dgm:cxn modelId="{FA46AD1D-CC6D-4808-A0CA-F134CFC7BBB3}" srcId="{1EB6843E-91E5-4AA3-A6F6-F81AF1DC4A06}" destId="{462CF09B-3935-4B06-9428-0140823874D7}" srcOrd="4" destOrd="0" parTransId="{E54AE75D-4B37-4549-9EAF-858D7AB849A9}" sibTransId="{BB015CB2-BE5B-4C23-A814-308F94639DC4}"/>
    <dgm:cxn modelId="{80A63523-6631-48CB-807D-DD524961071A}" srcId="{1EB6843E-91E5-4AA3-A6F6-F81AF1DC4A06}" destId="{C71E8FBC-3ED6-4729-92AF-F730CAB1F137}" srcOrd="0" destOrd="0" parTransId="{A623E624-D3B7-47D5-9A11-26BCD51F4AA4}" sibTransId="{A76E89E4-1DBF-4FDC-8197-0173CE513F03}"/>
    <dgm:cxn modelId="{C787F660-37AA-43D4-A1D7-286141800AA7}" type="presOf" srcId="{1EB6843E-91E5-4AA3-A6F6-F81AF1DC4A06}" destId="{346CDC47-6926-4CDC-A8E8-303F8685CD2A}" srcOrd="0" destOrd="0" presId="urn:microsoft.com/office/officeart/2005/8/layout/vList2"/>
    <dgm:cxn modelId="{1D88846C-F92F-4F7D-A498-39043ACA3DFE}" srcId="{1EB6843E-91E5-4AA3-A6F6-F81AF1DC4A06}" destId="{8CD5E60D-2159-4B2B-8C8D-B005E70ED570}" srcOrd="2" destOrd="0" parTransId="{47B39463-C9AB-4A89-95F5-773248B960B0}" sibTransId="{5FDDD17D-DD6F-4296-B1E3-BA1CEC28E422}"/>
    <dgm:cxn modelId="{E49A9F4F-B55F-45EF-8613-706226A3A2DA}" type="presOf" srcId="{59A6CD86-99B6-4D22-9688-D8321F3F6884}" destId="{CC27A6EF-46B3-4187-A1EC-86CD35F83DFC}" srcOrd="0" destOrd="0" presId="urn:microsoft.com/office/officeart/2005/8/layout/vList2"/>
    <dgm:cxn modelId="{F4B12F51-CAEE-4271-8DD1-1C8E83D02496}" srcId="{1EB6843E-91E5-4AA3-A6F6-F81AF1DC4A06}" destId="{56571198-DDB9-47A2-95BF-BA84CF85C205}" srcOrd="6" destOrd="0" parTransId="{357D1872-FCA0-4D40-8060-F0A00F260715}" sibTransId="{CC47A79E-451C-4F18-92DE-3320E1A2AE55}"/>
    <dgm:cxn modelId="{719E4B7A-9E68-4D19-8C8B-71AFEFAB247D}" type="presOf" srcId="{56571198-DDB9-47A2-95BF-BA84CF85C205}" destId="{1011F628-6F39-4477-91B6-98E1FAE787CF}" srcOrd="0" destOrd="0" presId="urn:microsoft.com/office/officeart/2005/8/layout/vList2"/>
    <dgm:cxn modelId="{CC72577F-E3DA-47DB-BB34-ACEC1E0C4391}" type="presOf" srcId="{DB96E8B4-7E4D-431E-B7B6-55BB30FECDDB}" destId="{66491600-4129-4BB3-9180-C1B5BCB7C6B0}" srcOrd="0" destOrd="0" presId="urn:microsoft.com/office/officeart/2005/8/layout/vList2"/>
    <dgm:cxn modelId="{5E5AD090-F559-4DBC-8581-4F22D59F9E4E}" srcId="{1EB6843E-91E5-4AA3-A6F6-F81AF1DC4A06}" destId="{E8D66CED-C2F1-49BE-962D-03448E8DE085}" srcOrd="3" destOrd="0" parTransId="{01F286EC-4770-43F5-86F1-66AA5884C010}" sibTransId="{DB190BD7-FEF0-4D5D-8449-0524A7AF75DC}"/>
    <dgm:cxn modelId="{487E5B93-D5A4-4AA4-B794-183316371A1D}" type="presOf" srcId="{E8D66CED-C2F1-49BE-962D-03448E8DE085}" destId="{C45A27D3-A74A-4105-909C-1EFE80AF5E82}" srcOrd="0" destOrd="0" presId="urn:microsoft.com/office/officeart/2005/8/layout/vList2"/>
    <dgm:cxn modelId="{9AD4EF96-8DE1-4BCF-B53C-B332CCB44381}" srcId="{1EB6843E-91E5-4AA3-A6F6-F81AF1DC4A06}" destId="{1ADB1ADA-A5D6-455A-9A00-DBB10A4C5ED4}" srcOrd="7" destOrd="0" parTransId="{1354FD20-9623-473F-8AB7-CD645BF0B6FF}" sibTransId="{BAD426BD-B3F7-4A3B-A6B2-9EADCD0F7A55}"/>
    <dgm:cxn modelId="{309401A0-5610-4663-BF48-60CC2582D2B2}" type="presOf" srcId="{1ADB1ADA-A5D6-455A-9A00-DBB10A4C5ED4}" destId="{8934FD68-4F96-40B5-8777-0250AA4ADEFC}" srcOrd="0" destOrd="0" presId="urn:microsoft.com/office/officeart/2005/8/layout/vList2"/>
    <dgm:cxn modelId="{11D730BA-E884-421D-8071-F0D507E5C776}" type="presOf" srcId="{8CD5E60D-2159-4B2B-8C8D-B005E70ED570}" destId="{513792C4-552D-41A5-B3A7-2F4C868F8AE9}" srcOrd="0" destOrd="0" presId="urn:microsoft.com/office/officeart/2005/8/layout/vList2"/>
    <dgm:cxn modelId="{9B159ECB-0018-4BAB-AA87-C45F681C1560}" type="presOf" srcId="{C71E8FBC-3ED6-4729-92AF-F730CAB1F137}" destId="{C66C8C11-9C49-4EEA-B15B-801A9B84BC57}" srcOrd="0" destOrd="0" presId="urn:microsoft.com/office/officeart/2005/8/layout/vList2"/>
    <dgm:cxn modelId="{1B0C4BCF-AC2D-4253-9F96-933F83D2CB37}" srcId="{1EB6843E-91E5-4AA3-A6F6-F81AF1DC4A06}" destId="{DB96E8B4-7E4D-431E-B7B6-55BB30FECDDB}" srcOrd="5" destOrd="0" parTransId="{420FC0D0-FDE1-4DF3-A904-8810F8CEDC0D}" sibTransId="{702507BB-45F7-4A93-B9A1-B4E8A7170C02}"/>
    <dgm:cxn modelId="{D49AF9D7-172C-4B7E-84D3-AC3E78A8A57D}" srcId="{1EB6843E-91E5-4AA3-A6F6-F81AF1DC4A06}" destId="{59A6CD86-99B6-4D22-9688-D8321F3F6884}" srcOrd="1" destOrd="0" parTransId="{1DA6B657-17C0-4980-ADAC-5C5955B76865}" sibTransId="{F144C56C-A004-44F7-ABC1-E07C7D425FF1}"/>
    <dgm:cxn modelId="{210E2EFC-B814-4403-B938-1CA556C5D377}" type="presOf" srcId="{462CF09B-3935-4B06-9428-0140823874D7}" destId="{E24DD4A6-42AF-41E5-8451-97DB16678A96}" srcOrd="0" destOrd="0" presId="urn:microsoft.com/office/officeart/2005/8/layout/vList2"/>
    <dgm:cxn modelId="{D43DD807-31F9-4C12-8A9D-1D02BDFDF692}" type="presParOf" srcId="{346CDC47-6926-4CDC-A8E8-303F8685CD2A}" destId="{C66C8C11-9C49-4EEA-B15B-801A9B84BC57}" srcOrd="0" destOrd="0" presId="urn:microsoft.com/office/officeart/2005/8/layout/vList2"/>
    <dgm:cxn modelId="{2A2DC9E7-3A21-4D8A-802E-4004AE8D9780}" type="presParOf" srcId="{346CDC47-6926-4CDC-A8E8-303F8685CD2A}" destId="{51ADAFAF-8802-4DFE-964B-9C401833725A}" srcOrd="1" destOrd="0" presId="urn:microsoft.com/office/officeart/2005/8/layout/vList2"/>
    <dgm:cxn modelId="{1C449082-E525-4766-9103-D37C5DA46E1B}" type="presParOf" srcId="{346CDC47-6926-4CDC-A8E8-303F8685CD2A}" destId="{CC27A6EF-46B3-4187-A1EC-86CD35F83DFC}" srcOrd="2" destOrd="0" presId="urn:microsoft.com/office/officeart/2005/8/layout/vList2"/>
    <dgm:cxn modelId="{52C5299F-7070-49AA-A4A7-77ADD43D3644}" type="presParOf" srcId="{346CDC47-6926-4CDC-A8E8-303F8685CD2A}" destId="{8232F2B3-668C-4495-A4C9-9B71893875C9}" srcOrd="3" destOrd="0" presId="urn:microsoft.com/office/officeart/2005/8/layout/vList2"/>
    <dgm:cxn modelId="{02CB7D8C-966C-4F95-B4EA-A7F003EDC9A7}" type="presParOf" srcId="{346CDC47-6926-4CDC-A8E8-303F8685CD2A}" destId="{513792C4-552D-41A5-B3A7-2F4C868F8AE9}" srcOrd="4" destOrd="0" presId="urn:microsoft.com/office/officeart/2005/8/layout/vList2"/>
    <dgm:cxn modelId="{E3014BBD-FD37-4F44-B113-4A0A53DD63BD}" type="presParOf" srcId="{346CDC47-6926-4CDC-A8E8-303F8685CD2A}" destId="{C267D825-F259-44F4-B913-F3338439426A}" srcOrd="5" destOrd="0" presId="urn:microsoft.com/office/officeart/2005/8/layout/vList2"/>
    <dgm:cxn modelId="{2DF28DE6-4ADD-48C5-B4C5-FA3581E74797}" type="presParOf" srcId="{346CDC47-6926-4CDC-A8E8-303F8685CD2A}" destId="{C45A27D3-A74A-4105-909C-1EFE80AF5E82}" srcOrd="6" destOrd="0" presId="urn:microsoft.com/office/officeart/2005/8/layout/vList2"/>
    <dgm:cxn modelId="{731AD72A-CB68-4040-9FD1-180E2BF3E05B}" type="presParOf" srcId="{346CDC47-6926-4CDC-A8E8-303F8685CD2A}" destId="{34A54B1E-ED2A-4E2E-8BB8-7F84633FC200}" srcOrd="7" destOrd="0" presId="urn:microsoft.com/office/officeart/2005/8/layout/vList2"/>
    <dgm:cxn modelId="{40AE8152-7516-4EC1-B78C-18C60A83D92B}" type="presParOf" srcId="{346CDC47-6926-4CDC-A8E8-303F8685CD2A}" destId="{E24DD4A6-42AF-41E5-8451-97DB16678A96}" srcOrd="8" destOrd="0" presId="urn:microsoft.com/office/officeart/2005/8/layout/vList2"/>
    <dgm:cxn modelId="{08396D4F-1A85-4F22-82D7-67C24C3C951E}" type="presParOf" srcId="{346CDC47-6926-4CDC-A8E8-303F8685CD2A}" destId="{1696D785-DDDC-43FF-8A68-EA9A0E398AF0}" srcOrd="9" destOrd="0" presId="urn:microsoft.com/office/officeart/2005/8/layout/vList2"/>
    <dgm:cxn modelId="{CB4CE551-055E-4AA2-AC5F-88FC203943C7}" type="presParOf" srcId="{346CDC47-6926-4CDC-A8E8-303F8685CD2A}" destId="{66491600-4129-4BB3-9180-C1B5BCB7C6B0}" srcOrd="10" destOrd="0" presId="urn:microsoft.com/office/officeart/2005/8/layout/vList2"/>
    <dgm:cxn modelId="{D41900E6-E92A-473D-9359-1CFE200DD59C}" type="presParOf" srcId="{346CDC47-6926-4CDC-A8E8-303F8685CD2A}" destId="{7D50BA65-3873-46AF-9BCB-C768C094F9DC}" srcOrd="11" destOrd="0" presId="urn:microsoft.com/office/officeart/2005/8/layout/vList2"/>
    <dgm:cxn modelId="{28750FEF-24F9-4DEE-802B-96669091CAA5}" type="presParOf" srcId="{346CDC47-6926-4CDC-A8E8-303F8685CD2A}" destId="{1011F628-6F39-4477-91B6-98E1FAE787CF}" srcOrd="12" destOrd="0" presId="urn:microsoft.com/office/officeart/2005/8/layout/vList2"/>
    <dgm:cxn modelId="{CDF2B75B-2AE2-427F-B34B-E9C0BE7C364A}" type="presParOf" srcId="{346CDC47-6926-4CDC-A8E8-303F8685CD2A}" destId="{5864AEB1-8915-4CAE-90A6-B00519350892}" srcOrd="13" destOrd="0" presId="urn:microsoft.com/office/officeart/2005/8/layout/vList2"/>
    <dgm:cxn modelId="{24E1E205-3370-4128-8B74-42E50C610476}" type="presParOf" srcId="{346CDC47-6926-4CDC-A8E8-303F8685CD2A}" destId="{8934FD68-4F96-40B5-8777-0250AA4ADEFC}"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5E588C5D-9B61-4294-B5EC-26A84BCD27E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D386CAD-978C-474B-954B-0D534776767C}">
      <dgm:prSet custT="1"/>
      <dgm:spPr/>
      <dgm:t>
        <a:bodyPr/>
        <a:lstStyle/>
        <a:p>
          <a:r>
            <a:rPr lang="en-US" sz="2400" baseline="0" dirty="0"/>
            <a:t>Two or more processes are waiting for one another to obtain locked resources</a:t>
          </a:r>
          <a:endParaRPr lang="en-US" sz="2400" dirty="0"/>
        </a:p>
      </dgm:t>
    </dgm:pt>
    <dgm:pt modelId="{86C80B2C-AEB9-4FCE-B682-79F63499D77F}" type="parTrans" cxnId="{A18A1DC3-E9CC-4B21-AD70-E059F8D29A68}">
      <dgm:prSet/>
      <dgm:spPr/>
      <dgm:t>
        <a:bodyPr/>
        <a:lstStyle/>
        <a:p>
          <a:endParaRPr lang="en-US"/>
        </a:p>
      </dgm:t>
    </dgm:pt>
    <dgm:pt modelId="{D63693B1-9572-445E-BDA0-F51507467E21}" type="sibTrans" cxnId="{A18A1DC3-E9CC-4B21-AD70-E059F8D29A68}">
      <dgm:prSet/>
      <dgm:spPr/>
      <dgm:t>
        <a:bodyPr/>
        <a:lstStyle/>
        <a:p>
          <a:endParaRPr lang="en-US"/>
        </a:p>
      </dgm:t>
    </dgm:pt>
    <dgm:pt modelId="{7607B40A-FE82-487F-A775-393A28811D75}">
      <dgm:prSet custT="1"/>
      <dgm:spPr/>
      <dgm:t>
        <a:bodyPr/>
        <a:lstStyle/>
        <a:p>
          <a:r>
            <a:rPr lang="en-US" sz="2000" baseline="0" dirty="0"/>
            <a:t>Transaction 1 </a:t>
          </a:r>
          <a:r>
            <a:rPr lang="en-US" sz="2000" b="1" baseline="0" dirty="0"/>
            <a:t>holds</a:t>
          </a:r>
          <a:r>
            <a:rPr lang="en-US" sz="2000" baseline="0" dirty="0"/>
            <a:t> a lock on the </a:t>
          </a:r>
          <a:r>
            <a:rPr lang="en-US" sz="2000" u="sng" baseline="0" dirty="0"/>
            <a:t>Supplier table </a:t>
          </a:r>
          <a:r>
            <a:rPr lang="en-US" sz="2000" baseline="0" dirty="0"/>
            <a:t>and </a:t>
          </a:r>
          <a:r>
            <a:rPr lang="en-US" sz="2000" b="1" baseline="0" dirty="0"/>
            <a:t>requires</a:t>
          </a:r>
          <a:r>
            <a:rPr lang="en-US" sz="2000" baseline="0" dirty="0"/>
            <a:t> </a:t>
          </a:r>
          <a:r>
            <a:rPr lang="en-US" sz="2000" b="1" baseline="0" dirty="0"/>
            <a:t>a lock </a:t>
          </a:r>
          <a:r>
            <a:rPr lang="en-US" sz="2000" baseline="0" dirty="0"/>
            <a:t>on the </a:t>
          </a:r>
          <a:r>
            <a:rPr lang="en-US" sz="2000" u="sng" baseline="0" dirty="0"/>
            <a:t>Part table</a:t>
          </a:r>
          <a:r>
            <a:rPr lang="en-US" sz="2000" baseline="0" dirty="0"/>
            <a:t>. </a:t>
          </a:r>
          <a:endParaRPr lang="en-US" sz="2000" dirty="0"/>
        </a:p>
      </dgm:t>
    </dgm:pt>
    <dgm:pt modelId="{BF7B41AE-18CF-4CAC-8A5C-FEE49290DD01}" type="parTrans" cxnId="{EFC48D3B-2E23-4108-84C9-EBB414C051A6}">
      <dgm:prSet/>
      <dgm:spPr/>
      <dgm:t>
        <a:bodyPr/>
        <a:lstStyle/>
        <a:p>
          <a:endParaRPr lang="en-US"/>
        </a:p>
      </dgm:t>
    </dgm:pt>
    <dgm:pt modelId="{257A3DDC-D226-4A69-9B96-AC7FA4D7B750}" type="sibTrans" cxnId="{EFC48D3B-2E23-4108-84C9-EBB414C051A6}">
      <dgm:prSet/>
      <dgm:spPr/>
      <dgm:t>
        <a:bodyPr/>
        <a:lstStyle/>
        <a:p>
          <a:endParaRPr lang="en-US"/>
        </a:p>
      </dgm:t>
    </dgm:pt>
    <dgm:pt modelId="{C4286032-5FD9-48A4-9F25-7868C2DC5CA6}">
      <dgm:prSet custT="1"/>
      <dgm:spPr/>
      <dgm:t>
        <a:bodyPr/>
        <a:lstStyle/>
        <a:p>
          <a:r>
            <a:rPr lang="en-US" sz="2000" baseline="0" dirty="0"/>
            <a:t>Transaction 2 </a:t>
          </a:r>
          <a:r>
            <a:rPr lang="en-US" sz="2000" b="1" baseline="0" dirty="0"/>
            <a:t>holds</a:t>
          </a:r>
          <a:r>
            <a:rPr lang="en-US" sz="2000" baseline="0" dirty="0"/>
            <a:t> a lock on the </a:t>
          </a:r>
          <a:r>
            <a:rPr lang="en-US" sz="2000" u="sng" baseline="0" dirty="0"/>
            <a:t>Part table </a:t>
          </a:r>
          <a:r>
            <a:rPr lang="en-US" sz="2000" baseline="0" dirty="0"/>
            <a:t>and </a:t>
          </a:r>
          <a:r>
            <a:rPr lang="en-US" sz="2000" b="1" baseline="0" dirty="0"/>
            <a:t>wants a lock</a:t>
          </a:r>
          <a:r>
            <a:rPr lang="en-US" sz="2000" baseline="0" dirty="0"/>
            <a:t> on the </a:t>
          </a:r>
          <a:r>
            <a:rPr lang="en-US" sz="2000" u="sng" baseline="0" dirty="0"/>
            <a:t>Supplier table</a:t>
          </a:r>
          <a:endParaRPr lang="en-US" sz="2000" dirty="0"/>
        </a:p>
      </dgm:t>
    </dgm:pt>
    <dgm:pt modelId="{687B2043-965A-4A00-8329-A8C5C66E2B99}" type="sibTrans" cxnId="{7291FE74-A817-4593-9DE0-E15110FE6B27}">
      <dgm:prSet/>
      <dgm:spPr/>
      <dgm:t>
        <a:bodyPr/>
        <a:lstStyle/>
        <a:p>
          <a:endParaRPr lang="en-US"/>
        </a:p>
      </dgm:t>
    </dgm:pt>
    <dgm:pt modelId="{F40CB6FB-6636-49E7-B355-A320DD0A87F3}" type="parTrans" cxnId="{7291FE74-A817-4593-9DE0-E15110FE6B27}">
      <dgm:prSet/>
      <dgm:spPr/>
      <dgm:t>
        <a:bodyPr/>
        <a:lstStyle/>
        <a:p>
          <a:endParaRPr lang="en-US"/>
        </a:p>
      </dgm:t>
    </dgm:pt>
    <dgm:pt modelId="{C6963CCA-EA21-4F10-9332-D3521A35BCF9}">
      <dgm:prSet custT="1"/>
      <dgm:spPr/>
      <dgm:t>
        <a:bodyPr/>
        <a:lstStyle/>
        <a:p>
          <a:r>
            <a:rPr lang="en-US" sz="2000" baseline="0" dirty="0"/>
            <a:t>Both tasks cannot continue until a resource is available and the resources cannot be released until a task </a:t>
          </a:r>
          <a:r>
            <a:rPr lang="en-US" sz="2000" b="0" i="0" dirty="0"/>
            <a:t>continues</a:t>
          </a:r>
          <a:r>
            <a:rPr lang="en-US" sz="2000" baseline="0" dirty="0"/>
            <a:t>, and therefore a deadlock state exists</a:t>
          </a:r>
          <a:endParaRPr lang="en-US" sz="2000" dirty="0"/>
        </a:p>
      </dgm:t>
    </dgm:pt>
    <dgm:pt modelId="{A52D742B-67CB-41A3-BAE8-51455EEAA201}" type="sibTrans" cxnId="{1EAD4E5E-63BF-4C84-870B-A1C7BB55EACC}">
      <dgm:prSet/>
      <dgm:spPr/>
      <dgm:t>
        <a:bodyPr/>
        <a:lstStyle/>
        <a:p>
          <a:endParaRPr lang="en-US"/>
        </a:p>
      </dgm:t>
    </dgm:pt>
    <dgm:pt modelId="{0A3D5834-A28C-4667-A056-5D286DFCF9AC}" type="parTrans" cxnId="{1EAD4E5E-63BF-4C84-870B-A1C7BB55EACC}">
      <dgm:prSet/>
      <dgm:spPr/>
      <dgm:t>
        <a:bodyPr/>
        <a:lstStyle/>
        <a:p>
          <a:endParaRPr lang="en-US"/>
        </a:p>
      </dgm:t>
    </dgm:pt>
    <dgm:pt modelId="{FBE1FDA1-8E5D-49EF-A0C9-CFB400B949D9}" type="pres">
      <dgm:prSet presAssocID="{5E588C5D-9B61-4294-B5EC-26A84BCD27E2}" presName="linear" presStyleCnt="0">
        <dgm:presLayoutVars>
          <dgm:animLvl val="lvl"/>
          <dgm:resizeHandles val="exact"/>
        </dgm:presLayoutVars>
      </dgm:prSet>
      <dgm:spPr/>
    </dgm:pt>
    <dgm:pt modelId="{F1E6D901-E016-4AF9-B949-AAF6EC26C98A}" type="pres">
      <dgm:prSet presAssocID="{1D386CAD-978C-474B-954B-0D534776767C}" presName="parentText" presStyleLbl="node1" presStyleIdx="0" presStyleCnt="1">
        <dgm:presLayoutVars>
          <dgm:chMax val="0"/>
          <dgm:bulletEnabled val="1"/>
        </dgm:presLayoutVars>
      </dgm:prSet>
      <dgm:spPr/>
    </dgm:pt>
    <dgm:pt modelId="{2F701B0A-5274-473C-9EA2-C3AF66B9E99B}" type="pres">
      <dgm:prSet presAssocID="{1D386CAD-978C-474B-954B-0D534776767C}" presName="childText" presStyleLbl="revTx" presStyleIdx="0" presStyleCnt="1">
        <dgm:presLayoutVars>
          <dgm:bulletEnabled val="1"/>
        </dgm:presLayoutVars>
      </dgm:prSet>
      <dgm:spPr/>
    </dgm:pt>
  </dgm:ptLst>
  <dgm:cxnLst>
    <dgm:cxn modelId="{D4CA3D2B-9019-4637-A599-2F6435914B67}" type="presOf" srcId="{C6963CCA-EA21-4F10-9332-D3521A35BCF9}" destId="{2F701B0A-5274-473C-9EA2-C3AF66B9E99B}" srcOrd="0" destOrd="2" presId="urn:microsoft.com/office/officeart/2005/8/layout/vList2"/>
    <dgm:cxn modelId="{EFC48D3B-2E23-4108-84C9-EBB414C051A6}" srcId="{1D386CAD-978C-474B-954B-0D534776767C}" destId="{7607B40A-FE82-487F-A775-393A28811D75}" srcOrd="0" destOrd="0" parTransId="{BF7B41AE-18CF-4CAC-8A5C-FEE49290DD01}" sibTransId="{257A3DDC-D226-4A69-9B96-AC7FA4D7B750}"/>
    <dgm:cxn modelId="{1EAD4E5E-63BF-4C84-870B-A1C7BB55EACC}" srcId="{1D386CAD-978C-474B-954B-0D534776767C}" destId="{C6963CCA-EA21-4F10-9332-D3521A35BCF9}" srcOrd="2" destOrd="0" parTransId="{0A3D5834-A28C-4667-A056-5D286DFCF9AC}" sibTransId="{A52D742B-67CB-41A3-BAE8-51455EEAA201}"/>
    <dgm:cxn modelId="{DB47FC72-3B19-4C49-A19C-6FE5A6A2DCDA}" type="presOf" srcId="{C4286032-5FD9-48A4-9F25-7868C2DC5CA6}" destId="{2F701B0A-5274-473C-9EA2-C3AF66B9E99B}" srcOrd="0" destOrd="1" presId="urn:microsoft.com/office/officeart/2005/8/layout/vList2"/>
    <dgm:cxn modelId="{7291FE74-A817-4593-9DE0-E15110FE6B27}" srcId="{1D386CAD-978C-474B-954B-0D534776767C}" destId="{C4286032-5FD9-48A4-9F25-7868C2DC5CA6}" srcOrd="1" destOrd="0" parTransId="{F40CB6FB-6636-49E7-B355-A320DD0A87F3}" sibTransId="{687B2043-965A-4A00-8329-A8C5C66E2B99}"/>
    <dgm:cxn modelId="{1E45898C-A39F-4F19-8D34-472D5BB7E224}" type="presOf" srcId="{5E588C5D-9B61-4294-B5EC-26A84BCD27E2}" destId="{FBE1FDA1-8E5D-49EF-A0C9-CFB400B949D9}" srcOrd="0" destOrd="0" presId="urn:microsoft.com/office/officeart/2005/8/layout/vList2"/>
    <dgm:cxn modelId="{A18A1DC3-E9CC-4B21-AD70-E059F8D29A68}" srcId="{5E588C5D-9B61-4294-B5EC-26A84BCD27E2}" destId="{1D386CAD-978C-474B-954B-0D534776767C}" srcOrd="0" destOrd="0" parTransId="{86C80B2C-AEB9-4FCE-B682-79F63499D77F}" sibTransId="{D63693B1-9572-445E-BDA0-F51507467E21}"/>
    <dgm:cxn modelId="{1A4195C3-F25E-42F3-BCE0-C72B810BBE77}" type="presOf" srcId="{7607B40A-FE82-487F-A775-393A28811D75}" destId="{2F701B0A-5274-473C-9EA2-C3AF66B9E99B}" srcOrd="0" destOrd="0" presId="urn:microsoft.com/office/officeart/2005/8/layout/vList2"/>
    <dgm:cxn modelId="{8E7A1FC8-0214-4EFD-BF5D-C8F0BADEBC9D}" type="presOf" srcId="{1D386CAD-978C-474B-954B-0D534776767C}" destId="{F1E6D901-E016-4AF9-B949-AAF6EC26C98A}" srcOrd="0" destOrd="0" presId="urn:microsoft.com/office/officeart/2005/8/layout/vList2"/>
    <dgm:cxn modelId="{FD6F2737-FA30-4B61-88C4-409ECD6F4A7B}" type="presParOf" srcId="{FBE1FDA1-8E5D-49EF-A0C9-CFB400B949D9}" destId="{F1E6D901-E016-4AF9-B949-AAF6EC26C98A}" srcOrd="0" destOrd="0" presId="urn:microsoft.com/office/officeart/2005/8/layout/vList2"/>
    <dgm:cxn modelId="{2A80B400-46C5-4ACA-9AFA-5ACBDD716B2E}" type="presParOf" srcId="{FBE1FDA1-8E5D-49EF-A0C9-CFB400B949D9}" destId="{2F701B0A-5274-473C-9EA2-C3AF66B9E99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E3FB1884-3DFA-45E0-AD9E-7A3F6EB2766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DB7971EA-3469-4266-9193-3072BE64FA60}">
      <dgm:prSet custT="1"/>
      <dgm:spPr/>
      <dgm:t>
        <a:bodyPr/>
        <a:lstStyle/>
        <a:p>
          <a:r>
            <a:rPr lang="en-US" sz="2400" baseline="0" dirty="0"/>
            <a:t>Lock monitor thread periodically perform deadlock detection in SQL Server.</a:t>
          </a:r>
          <a:endParaRPr lang="en-US" sz="2400" dirty="0"/>
        </a:p>
      </dgm:t>
    </dgm:pt>
    <dgm:pt modelId="{FA5A67E7-6C2E-481F-BC3B-A7791FCBB5C8}" type="parTrans" cxnId="{04DD0ABC-6900-45D2-BA23-4B5620E2E66E}">
      <dgm:prSet/>
      <dgm:spPr/>
      <dgm:t>
        <a:bodyPr/>
        <a:lstStyle/>
        <a:p>
          <a:endParaRPr lang="en-US"/>
        </a:p>
      </dgm:t>
    </dgm:pt>
    <dgm:pt modelId="{D7825E36-B841-4BB0-8F66-45099F0AF954}" type="sibTrans" cxnId="{04DD0ABC-6900-45D2-BA23-4B5620E2E66E}">
      <dgm:prSet/>
      <dgm:spPr/>
      <dgm:t>
        <a:bodyPr/>
        <a:lstStyle/>
        <a:p>
          <a:endParaRPr lang="en-US"/>
        </a:p>
      </dgm:t>
    </dgm:pt>
    <dgm:pt modelId="{0AF23DC1-226E-4ACB-93F0-1F3C1BF23776}">
      <dgm:prSet custT="1"/>
      <dgm:spPr/>
      <dgm:t>
        <a:bodyPr/>
        <a:lstStyle/>
        <a:p>
          <a:r>
            <a:rPr lang="en-US" sz="2400" baseline="0" dirty="0"/>
            <a:t>Trace flags 1222,1204.</a:t>
          </a:r>
          <a:endParaRPr lang="en-US" sz="2400" dirty="0"/>
        </a:p>
      </dgm:t>
    </dgm:pt>
    <dgm:pt modelId="{24537F28-8E1C-4BFD-BAF7-DA0E4AF73DB0}" type="parTrans" cxnId="{29080D69-C364-4601-9275-FFD56C08AD89}">
      <dgm:prSet/>
      <dgm:spPr/>
      <dgm:t>
        <a:bodyPr/>
        <a:lstStyle/>
        <a:p>
          <a:endParaRPr lang="en-US"/>
        </a:p>
      </dgm:t>
    </dgm:pt>
    <dgm:pt modelId="{AB35CB14-D085-42C5-AFEF-C3E3A05A785C}" type="sibTrans" cxnId="{29080D69-C364-4601-9275-FFD56C08AD89}">
      <dgm:prSet/>
      <dgm:spPr/>
      <dgm:t>
        <a:bodyPr/>
        <a:lstStyle/>
        <a:p>
          <a:endParaRPr lang="en-US"/>
        </a:p>
      </dgm:t>
    </dgm:pt>
    <dgm:pt modelId="{922C1F51-64F1-4E2C-A15B-0DDBEC3EC326}">
      <dgm:prSet custT="1"/>
      <dgm:spPr/>
      <dgm:t>
        <a:bodyPr/>
        <a:lstStyle/>
        <a:p>
          <a:r>
            <a:rPr lang="en-US" sz="2400" baseline="0" dirty="0"/>
            <a:t>Deadlocks are captured by the system health event session.</a:t>
          </a:r>
          <a:endParaRPr lang="en-US" sz="2400" dirty="0"/>
        </a:p>
      </dgm:t>
    </dgm:pt>
    <dgm:pt modelId="{06BC17AD-CFE7-4DB5-A44E-FB1314D780D4}" type="parTrans" cxnId="{F890ADE3-C682-4EDE-8824-72E1EF924AE4}">
      <dgm:prSet/>
      <dgm:spPr/>
      <dgm:t>
        <a:bodyPr/>
        <a:lstStyle/>
        <a:p>
          <a:endParaRPr lang="en-US"/>
        </a:p>
      </dgm:t>
    </dgm:pt>
    <dgm:pt modelId="{7146DC99-846D-4045-971C-A136FBF87249}" type="sibTrans" cxnId="{F890ADE3-C682-4EDE-8824-72E1EF924AE4}">
      <dgm:prSet/>
      <dgm:spPr/>
      <dgm:t>
        <a:bodyPr/>
        <a:lstStyle/>
        <a:p>
          <a:endParaRPr lang="en-US"/>
        </a:p>
      </dgm:t>
    </dgm:pt>
    <dgm:pt modelId="{1959428C-9ED2-40A2-BC83-BC5C30D63A14}">
      <dgm:prSet custT="1"/>
      <dgm:spPr/>
      <dgm:t>
        <a:bodyPr/>
        <a:lstStyle/>
        <a:p>
          <a:r>
            <a:rPr lang="en-US" sz="2400" baseline="0" dirty="0"/>
            <a:t>When Deadlock occurs, SQL server returns 1205 error code to application.</a:t>
          </a:r>
          <a:endParaRPr lang="en-US" sz="2400" dirty="0"/>
        </a:p>
      </dgm:t>
    </dgm:pt>
    <dgm:pt modelId="{6AE7960F-0159-482E-AD6B-A59A4C2E4B62}" type="parTrans" cxnId="{88CBF25B-2BFC-4ADC-8710-F2EBAC459264}">
      <dgm:prSet/>
      <dgm:spPr/>
      <dgm:t>
        <a:bodyPr/>
        <a:lstStyle/>
        <a:p>
          <a:endParaRPr lang="en-US"/>
        </a:p>
      </dgm:t>
    </dgm:pt>
    <dgm:pt modelId="{E1C9D6DD-E106-4057-A848-9AC919629E5E}" type="sibTrans" cxnId="{88CBF25B-2BFC-4ADC-8710-F2EBAC459264}">
      <dgm:prSet/>
      <dgm:spPr/>
      <dgm:t>
        <a:bodyPr/>
        <a:lstStyle/>
        <a:p>
          <a:endParaRPr lang="en-US"/>
        </a:p>
      </dgm:t>
    </dgm:pt>
    <dgm:pt modelId="{23013A77-510A-4FBF-A944-F6E47F2B6ADC}">
      <dgm:prSet custT="1"/>
      <dgm:spPr/>
      <dgm:t>
        <a:bodyPr/>
        <a:lstStyle/>
        <a:p>
          <a:r>
            <a:rPr lang="en-US" sz="2400" baseline="0" dirty="0"/>
            <a:t>Applications should use retry logic.</a:t>
          </a:r>
          <a:endParaRPr lang="en-US" sz="2400" dirty="0"/>
        </a:p>
      </dgm:t>
    </dgm:pt>
    <dgm:pt modelId="{B18D59BA-7D77-472B-95F0-AAE877877083}" type="parTrans" cxnId="{75F1F136-E8FD-4A12-9BDF-F3D721B71C91}">
      <dgm:prSet/>
      <dgm:spPr/>
      <dgm:t>
        <a:bodyPr/>
        <a:lstStyle/>
        <a:p>
          <a:endParaRPr lang="en-US"/>
        </a:p>
      </dgm:t>
    </dgm:pt>
    <dgm:pt modelId="{7A714B73-48B7-4DB5-9C29-00BB2F4AA5D5}" type="sibTrans" cxnId="{75F1F136-E8FD-4A12-9BDF-F3D721B71C91}">
      <dgm:prSet/>
      <dgm:spPr/>
      <dgm:t>
        <a:bodyPr/>
        <a:lstStyle/>
        <a:p>
          <a:endParaRPr lang="en-US"/>
        </a:p>
      </dgm:t>
    </dgm:pt>
    <dgm:pt modelId="{F0F67035-D924-4B4C-80BF-CC351E33178D}">
      <dgm:prSet custT="1"/>
      <dgm:spPr/>
      <dgm:t>
        <a:bodyPr/>
        <a:lstStyle/>
        <a:p>
          <a:r>
            <a:rPr lang="en-US" sz="2400" baseline="0" dirty="0"/>
            <a:t>Check for 1205 error code to resubmit the transaction.</a:t>
          </a:r>
          <a:endParaRPr lang="en-US" sz="2400" dirty="0"/>
        </a:p>
      </dgm:t>
    </dgm:pt>
    <dgm:pt modelId="{BD688B96-2DF4-4217-8C83-45C32FEE6E13}" type="parTrans" cxnId="{C2BB9F7F-0F3B-4F36-9D9D-EAC5214CF9BE}">
      <dgm:prSet/>
      <dgm:spPr/>
      <dgm:t>
        <a:bodyPr/>
        <a:lstStyle/>
        <a:p>
          <a:endParaRPr lang="en-US"/>
        </a:p>
      </dgm:t>
    </dgm:pt>
    <dgm:pt modelId="{C70174FB-5F4E-4BF6-A072-289BC7F589B4}" type="sibTrans" cxnId="{C2BB9F7F-0F3B-4F36-9D9D-EAC5214CF9BE}">
      <dgm:prSet/>
      <dgm:spPr/>
      <dgm:t>
        <a:bodyPr/>
        <a:lstStyle/>
        <a:p>
          <a:endParaRPr lang="en-US"/>
        </a:p>
      </dgm:t>
    </dgm:pt>
    <dgm:pt modelId="{BD311D04-5284-4047-8156-9BABCA4CEC56}" type="pres">
      <dgm:prSet presAssocID="{E3FB1884-3DFA-45E0-AD9E-7A3F6EB2766B}" presName="linear" presStyleCnt="0">
        <dgm:presLayoutVars>
          <dgm:animLvl val="lvl"/>
          <dgm:resizeHandles val="exact"/>
        </dgm:presLayoutVars>
      </dgm:prSet>
      <dgm:spPr/>
    </dgm:pt>
    <dgm:pt modelId="{99F66C44-15DE-4843-83B0-FB9F5F0A0A1C}" type="pres">
      <dgm:prSet presAssocID="{DB7971EA-3469-4266-9193-3072BE64FA60}" presName="parentText" presStyleLbl="node1" presStyleIdx="0" presStyleCnt="4">
        <dgm:presLayoutVars>
          <dgm:chMax val="0"/>
          <dgm:bulletEnabled val="1"/>
        </dgm:presLayoutVars>
      </dgm:prSet>
      <dgm:spPr/>
    </dgm:pt>
    <dgm:pt modelId="{460DD588-8B36-4A7A-8A65-E2AEC7E6F1EA}" type="pres">
      <dgm:prSet presAssocID="{D7825E36-B841-4BB0-8F66-45099F0AF954}" presName="spacer" presStyleCnt="0"/>
      <dgm:spPr/>
    </dgm:pt>
    <dgm:pt modelId="{CE40A084-1F17-4281-8892-628A9B527DDC}" type="pres">
      <dgm:prSet presAssocID="{0AF23DC1-226E-4ACB-93F0-1F3C1BF23776}" presName="parentText" presStyleLbl="node1" presStyleIdx="1" presStyleCnt="4">
        <dgm:presLayoutVars>
          <dgm:chMax val="0"/>
          <dgm:bulletEnabled val="1"/>
        </dgm:presLayoutVars>
      </dgm:prSet>
      <dgm:spPr/>
    </dgm:pt>
    <dgm:pt modelId="{0BFC8CAE-D346-435E-BBE4-4CC7B4D8525B}" type="pres">
      <dgm:prSet presAssocID="{AB35CB14-D085-42C5-AFEF-C3E3A05A785C}" presName="spacer" presStyleCnt="0"/>
      <dgm:spPr/>
    </dgm:pt>
    <dgm:pt modelId="{D7247852-11B2-40BF-BE5F-8E3D7C233DCC}" type="pres">
      <dgm:prSet presAssocID="{922C1F51-64F1-4E2C-A15B-0DDBEC3EC326}" presName="parentText" presStyleLbl="node1" presStyleIdx="2" presStyleCnt="4">
        <dgm:presLayoutVars>
          <dgm:chMax val="0"/>
          <dgm:bulletEnabled val="1"/>
        </dgm:presLayoutVars>
      </dgm:prSet>
      <dgm:spPr/>
    </dgm:pt>
    <dgm:pt modelId="{571BD206-BD5A-485D-98C2-7AA39D729768}" type="pres">
      <dgm:prSet presAssocID="{7146DC99-846D-4045-971C-A136FBF87249}" presName="spacer" presStyleCnt="0"/>
      <dgm:spPr/>
    </dgm:pt>
    <dgm:pt modelId="{7F7332E1-F1C8-4D54-8E57-A847E37A5A8E}" type="pres">
      <dgm:prSet presAssocID="{1959428C-9ED2-40A2-BC83-BC5C30D63A14}" presName="parentText" presStyleLbl="node1" presStyleIdx="3" presStyleCnt="4">
        <dgm:presLayoutVars>
          <dgm:chMax val="0"/>
          <dgm:bulletEnabled val="1"/>
        </dgm:presLayoutVars>
      </dgm:prSet>
      <dgm:spPr/>
    </dgm:pt>
    <dgm:pt modelId="{EA9008CC-9376-4C18-AD19-5791C3576BF3}" type="pres">
      <dgm:prSet presAssocID="{1959428C-9ED2-40A2-BC83-BC5C30D63A14}" presName="childText" presStyleLbl="revTx" presStyleIdx="0" presStyleCnt="1">
        <dgm:presLayoutVars>
          <dgm:bulletEnabled val="1"/>
        </dgm:presLayoutVars>
      </dgm:prSet>
      <dgm:spPr/>
    </dgm:pt>
  </dgm:ptLst>
  <dgm:cxnLst>
    <dgm:cxn modelId="{75F1F136-E8FD-4A12-9BDF-F3D721B71C91}" srcId="{1959428C-9ED2-40A2-BC83-BC5C30D63A14}" destId="{23013A77-510A-4FBF-A944-F6E47F2B6ADC}" srcOrd="0" destOrd="0" parTransId="{B18D59BA-7D77-472B-95F0-AAE877877083}" sibTransId="{7A714B73-48B7-4DB5-9C29-00BB2F4AA5D5}"/>
    <dgm:cxn modelId="{88CBF25B-2BFC-4ADC-8710-F2EBAC459264}" srcId="{E3FB1884-3DFA-45E0-AD9E-7A3F6EB2766B}" destId="{1959428C-9ED2-40A2-BC83-BC5C30D63A14}" srcOrd="3" destOrd="0" parTransId="{6AE7960F-0159-482E-AD6B-A59A4C2E4B62}" sibTransId="{E1C9D6DD-E106-4057-A848-9AC919629E5E}"/>
    <dgm:cxn modelId="{77B2D848-B662-4941-AE57-D0010D8341E6}" type="presOf" srcId="{E3FB1884-3DFA-45E0-AD9E-7A3F6EB2766B}" destId="{BD311D04-5284-4047-8156-9BABCA4CEC56}" srcOrd="0" destOrd="0" presId="urn:microsoft.com/office/officeart/2005/8/layout/vList2"/>
    <dgm:cxn modelId="{29080D69-C364-4601-9275-FFD56C08AD89}" srcId="{E3FB1884-3DFA-45E0-AD9E-7A3F6EB2766B}" destId="{0AF23DC1-226E-4ACB-93F0-1F3C1BF23776}" srcOrd="1" destOrd="0" parTransId="{24537F28-8E1C-4BFD-BAF7-DA0E4AF73DB0}" sibTransId="{AB35CB14-D085-42C5-AFEF-C3E3A05A785C}"/>
    <dgm:cxn modelId="{F64D3B4F-7AD3-43C4-9D6A-45FB491717FB}" type="presOf" srcId="{1959428C-9ED2-40A2-BC83-BC5C30D63A14}" destId="{7F7332E1-F1C8-4D54-8E57-A847E37A5A8E}" srcOrd="0" destOrd="0" presId="urn:microsoft.com/office/officeart/2005/8/layout/vList2"/>
    <dgm:cxn modelId="{C93EA773-0793-4320-8D8C-52575B71106A}" type="presOf" srcId="{F0F67035-D924-4B4C-80BF-CC351E33178D}" destId="{EA9008CC-9376-4C18-AD19-5791C3576BF3}" srcOrd="0" destOrd="1" presId="urn:microsoft.com/office/officeart/2005/8/layout/vList2"/>
    <dgm:cxn modelId="{C06B6958-58E8-494A-B9D3-E4668E746267}" type="presOf" srcId="{DB7971EA-3469-4266-9193-3072BE64FA60}" destId="{99F66C44-15DE-4843-83B0-FB9F5F0A0A1C}" srcOrd="0" destOrd="0" presId="urn:microsoft.com/office/officeart/2005/8/layout/vList2"/>
    <dgm:cxn modelId="{C2BB9F7F-0F3B-4F36-9D9D-EAC5214CF9BE}" srcId="{1959428C-9ED2-40A2-BC83-BC5C30D63A14}" destId="{F0F67035-D924-4B4C-80BF-CC351E33178D}" srcOrd="1" destOrd="0" parTransId="{BD688B96-2DF4-4217-8C83-45C32FEE6E13}" sibTransId="{C70174FB-5F4E-4BF6-A072-289BC7F589B4}"/>
    <dgm:cxn modelId="{EEF359AF-FD4D-4DDF-A5FB-816D331D1DA8}" type="presOf" srcId="{922C1F51-64F1-4E2C-A15B-0DDBEC3EC326}" destId="{D7247852-11B2-40BF-BE5F-8E3D7C233DCC}" srcOrd="0" destOrd="0" presId="urn:microsoft.com/office/officeart/2005/8/layout/vList2"/>
    <dgm:cxn modelId="{04DD0ABC-6900-45D2-BA23-4B5620E2E66E}" srcId="{E3FB1884-3DFA-45E0-AD9E-7A3F6EB2766B}" destId="{DB7971EA-3469-4266-9193-3072BE64FA60}" srcOrd="0" destOrd="0" parTransId="{FA5A67E7-6C2E-481F-BC3B-A7791FCBB5C8}" sibTransId="{D7825E36-B841-4BB0-8F66-45099F0AF954}"/>
    <dgm:cxn modelId="{5F82CCBE-FA01-481F-B611-0A2E90A5DDAC}" type="presOf" srcId="{23013A77-510A-4FBF-A944-F6E47F2B6ADC}" destId="{EA9008CC-9376-4C18-AD19-5791C3576BF3}" srcOrd="0" destOrd="0" presId="urn:microsoft.com/office/officeart/2005/8/layout/vList2"/>
    <dgm:cxn modelId="{5C3801D7-A9AE-4957-A6E0-DF5E7A2F1296}" type="presOf" srcId="{0AF23DC1-226E-4ACB-93F0-1F3C1BF23776}" destId="{CE40A084-1F17-4281-8892-628A9B527DDC}" srcOrd="0" destOrd="0" presId="urn:microsoft.com/office/officeart/2005/8/layout/vList2"/>
    <dgm:cxn modelId="{F890ADE3-C682-4EDE-8824-72E1EF924AE4}" srcId="{E3FB1884-3DFA-45E0-AD9E-7A3F6EB2766B}" destId="{922C1F51-64F1-4E2C-A15B-0DDBEC3EC326}" srcOrd="2" destOrd="0" parTransId="{06BC17AD-CFE7-4DB5-A44E-FB1314D780D4}" sibTransId="{7146DC99-846D-4045-971C-A136FBF87249}"/>
    <dgm:cxn modelId="{78691145-53AE-4183-95EC-B1847CBAEFB8}" type="presParOf" srcId="{BD311D04-5284-4047-8156-9BABCA4CEC56}" destId="{99F66C44-15DE-4843-83B0-FB9F5F0A0A1C}" srcOrd="0" destOrd="0" presId="urn:microsoft.com/office/officeart/2005/8/layout/vList2"/>
    <dgm:cxn modelId="{5A0E8C97-07AE-49FE-B025-301C68D6F272}" type="presParOf" srcId="{BD311D04-5284-4047-8156-9BABCA4CEC56}" destId="{460DD588-8B36-4A7A-8A65-E2AEC7E6F1EA}" srcOrd="1" destOrd="0" presId="urn:microsoft.com/office/officeart/2005/8/layout/vList2"/>
    <dgm:cxn modelId="{E7AA1AD7-E41B-44D6-BB8C-7BEC0EC2CEAF}" type="presParOf" srcId="{BD311D04-5284-4047-8156-9BABCA4CEC56}" destId="{CE40A084-1F17-4281-8892-628A9B527DDC}" srcOrd="2" destOrd="0" presId="urn:microsoft.com/office/officeart/2005/8/layout/vList2"/>
    <dgm:cxn modelId="{C2419B56-CF58-4739-8FF9-7C8B7CA8CDFE}" type="presParOf" srcId="{BD311D04-5284-4047-8156-9BABCA4CEC56}" destId="{0BFC8CAE-D346-435E-BBE4-4CC7B4D8525B}" srcOrd="3" destOrd="0" presId="urn:microsoft.com/office/officeart/2005/8/layout/vList2"/>
    <dgm:cxn modelId="{B9836701-2F5B-496F-94A1-3DBBA4480D39}" type="presParOf" srcId="{BD311D04-5284-4047-8156-9BABCA4CEC56}" destId="{D7247852-11B2-40BF-BE5F-8E3D7C233DCC}" srcOrd="4" destOrd="0" presId="urn:microsoft.com/office/officeart/2005/8/layout/vList2"/>
    <dgm:cxn modelId="{73C3E476-4FE3-4939-ABB2-40E5C279C0C6}" type="presParOf" srcId="{BD311D04-5284-4047-8156-9BABCA4CEC56}" destId="{571BD206-BD5A-485D-98C2-7AA39D729768}" srcOrd="5" destOrd="0" presId="urn:microsoft.com/office/officeart/2005/8/layout/vList2"/>
    <dgm:cxn modelId="{FC988164-83AA-4B6F-80CC-C587CB30D5D5}" type="presParOf" srcId="{BD311D04-5284-4047-8156-9BABCA4CEC56}" destId="{7F7332E1-F1C8-4D54-8E57-A847E37A5A8E}" srcOrd="6" destOrd="0" presId="urn:microsoft.com/office/officeart/2005/8/layout/vList2"/>
    <dgm:cxn modelId="{71BB20EF-7EC8-4349-9E35-FF275376501A}" type="presParOf" srcId="{BD311D04-5284-4047-8156-9BABCA4CEC56}" destId="{EA9008CC-9376-4C18-AD19-5791C3576BF3}"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A9C9E121-4D0E-49C9-AC70-26FDC573BA45}" type="doc">
      <dgm:prSet loTypeId="urn:microsoft.com/office/officeart/2005/8/layout/hProcess9" loCatId="process" qsTypeId="urn:microsoft.com/office/officeart/2005/8/quickstyle/simple1" qsCatId="simple" csTypeId="urn:microsoft.com/office/officeart/2005/8/colors/accent0_3" csCatId="mainScheme" phldr="1"/>
      <dgm:spPr/>
      <dgm:t>
        <a:bodyPr/>
        <a:lstStyle/>
        <a:p>
          <a:endParaRPr lang="en-US"/>
        </a:p>
      </dgm:t>
    </dgm:pt>
    <dgm:pt modelId="{7FC4BA51-17A5-4501-9159-E07FDDAC2BD7}">
      <dgm:prSet custT="1"/>
      <dgm:spPr/>
      <dgm:t>
        <a:bodyPr/>
        <a:lstStyle/>
        <a:p>
          <a:pPr>
            <a:buNone/>
          </a:pPr>
          <a:r>
            <a:rPr lang="en-US" sz="2400" baseline="0" dirty="0"/>
            <a:t>System Health Session</a:t>
          </a:r>
          <a:endParaRPr lang="en-US" sz="2400" dirty="0"/>
        </a:p>
      </dgm:t>
    </dgm:pt>
    <dgm:pt modelId="{AA00038E-68EF-4C20-B8AA-9ABB5A439687}" type="parTrans" cxnId="{EF9A5412-4CA2-4BAA-B245-540FF34103BC}">
      <dgm:prSet/>
      <dgm:spPr/>
      <dgm:t>
        <a:bodyPr/>
        <a:lstStyle/>
        <a:p>
          <a:endParaRPr lang="en-US"/>
        </a:p>
      </dgm:t>
    </dgm:pt>
    <dgm:pt modelId="{B4117727-6D51-4528-A720-9CF8A67BB86A}" type="sibTrans" cxnId="{EF9A5412-4CA2-4BAA-B245-540FF34103BC}">
      <dgm:prSet/>
      <dgm:spPr/>
      <dgm:t>
        <a:bodyPr/>
        <a:lstStyle/>
        <a:p>
          <a:endParaRPr lang="en-US"/>
        </a:p>
      </dgm:t>
    </dgm:pt>
    <dgm:pt modelId="{654A6DF7-AEDA-4582-B814-A87E4CF33D27}">
      <dgm:prSet custT="1"/>
      <dgm:spPr/>
      <dgm:t>
        <a:bodyPr/>
        <a:lstStyle/>
        <a:p>
          <a:pPr>
            <a:buNone/>
          </a:pPr>
          <a:r>
            <a:rPr lang="en-US" sz="2000" baseline="0" dirty="0"/>
            <a:t>xml_deadlock_report</a:t>
          </a:r>
          <a:endParaRPr lang="en-US" sz="2000" dirty="0"/>
        </a:p>
      </dgm:t>
    </dgm:pt>
    <dgm:pt modelId="{CD5F6F26-FB5A-43C8-9C28-30E8AF789BE5}" type="parTrans" cxnId="{4271A869-593B-4E4E-9E8F-FCAB819A9792}">
      <dgm:prSet/>
      <dgm:spPr/>
      <dgm:t>
        <a:bodyPr/>
        <a:lstStyle/>
        <a:p>
          <a:endParaRPr lang="en-US"/>
        </a:p>
      </dgm:t>
    </dgm:pt>
    <dgm:pt modelId="{EA25A94E-8F8B-48F1-AC06-255CF0C08F60}" type="sibTrans" cxnId="{4271A869-593B-4E4E-9E8F-FCAB819A9792}">
      <dgm:prSet/>
      <dgm:spPr/>
      <dgm:t>
        <a:bodyPr/>
        <a:lstStyle/>
        <a:p>
          <a:endParaRPr lang="en-US"/>
        </a:p>
      </dgm:t>
    </dgm:pt>
    <dgm:pt modelId="{0B601717-6021-4E3A-8B49-7A74F20A1E62}" type="pres">
      <dgm:prSet presAssocID="{A9C9E121-4D0E-49C9-AC70-26FDC573BA45}" presName="CompostProcess" presStyleCnt="0">
        <dgm:presLayoutVars>
          <dgm:dir/>
          <dgm:resizeHandles val="exact"/>
        </dgm:presLayoutVars>
      </dgm:prSet>
      <dgm:spPr/>
    </dgm:pt>
    <dgm:pt modelId="{92677BEC-E8C2-4F88-A388-3787E296C939}" type="pres">
      <dgm:prSet presAssocID="{A9C9E121-4D0E-49C9-AC70-26FDC573BA45}" presName="arrow" presStyleLbl="bgShp" presStyleIdx="0" presStyleCnt="1" custScaleX="117647"/>
      <dgm:spPr>
        <a:prstGeom prst="rect">
          <a:avLst/>
        </a:prstGeom>
        <a:solidFill>
          <a:schemeClr val="bg1"/>
        </a:solidFill>
      </dgm:spPr>
    </dgm:pt>
    <dgm:pt modelId="{36B62D65-B88C-4666-9979-9BE3FC2FFD3B}" type="pres">
      <dgm:prSet presAssocID="{A9C9E121-4D0E-49C9-AC70-26FDC573BA45}" presName="linearProcess" presStyleCnt="0"/>
      <dgm:spPr/>
    </dgm:pt>
    <dgm:pt modelId="{2DC26520-AA7B-4640-B497-A03AE4462517}" type="pres">
      <dgm:prSet presAssocID="{7FC4BA51-17A5-4501-9159-E07FDDAC2BD7}" presName="textNode" presStyleLbl="node1" presStyleIdx="0" presStyleCnt="1" custScaleY="216235">
        <dgm:presLayoutVars>
          <dgm:bulletEnabled val="1"/>
        </dgm:presLayoutVars>
      </dgm:prSet>
      <dgm:spPr/>
    </dgm:pt>
  </dgm:ptLst>
  <dgm:cxnLst>
    <dgm:cxn modelId="{EF9A5412-4CA2-4BAA-B245-540FF34103BC}" srcId="{A9C9E121-4D0E-49C9-AC70-26FDC573BA45}" destId="{7FC4BA51-17A5-4501-9159-E07FDDAC2BD7}" srcOrd="0" destOrd="0" parTransId="{AA00038E-68EF-4C20-B8AA-9ABB5A439687}" sibTransId="{B4117727-6D51-4528-A720-9CF8A67BB86A}"/>
    <dgm:cxn modelId="{4271A869-593B-4E4E-9E8F-FCAB819A9792}" srcId="{7FC4BA51-17A5-4501-9159-E07FDDAC2BD7}" destId="{654A6DF7-AEDA-4582-B814-A87E4CF33D27}" srcOrd="0" destOrd="0" parTransId="{CD5F6F26-FB5A-43C8-9C28-30E8AF789BE5}" sibTransId="{EA25A94E-8F8B-48F1-AC06-255CF0C08F60}"/>
    <dgm:cxn modelId="{6716037E-F56C-4844-A7DC-26C8B1F81E41}" type="presOf" srcId="{7FC4BA51-17A5-4501-9159-E07FDDAC2BD7}" destId="{2DC26520-AA7B-4640-B497-A03AE4462517}" srcOrd="0" destOrd="0" presId="urn:microsoft.com/office/officeart/2005/8/layout/hProcess9"/>
    <dgm:cxn modelId="{F19EEDCE-B68D-4542-8396-4E8E23C0356F}" type="presOf" srcId="{654A6DF7-AEDA-4582-B814-A87E4CF33D27}" destId="{2DC26520-AA7B-4640-B497-A03AE4462517}" srcOrd="0" destOrd="1" presId="urn:microsoft.com/office/officeart/2005/8/layout/hProcess9"/>
    <dgm:cxn modelId="{E1CBA9F0-7487-4295-B863-5BDBF36F2584}" type="presOf" srcId="{A9C9E121-4D0E-49C9-AC70-26FDC573BA45}" destId="{0B601717-6021-4E3A-8B49-7A74F20A1E62}" srcOrd="0" destOrd="0" presId="urn:microsoft.com/office/officeart/2005/8/layout/hProcess9"/>
    <dgm:cxn modelId="{4A58B7EC-0DF7-4947-B16E-307CEB4B1E5B}" type="presParOf" srcId="{0B601717-6021-4E3A-8B49-7A74F20A1E62}" destId="{92677BEC-E8C2-4F88-A388-3787E296C939}" srcOrd="0" destOrd="0" presId="urn:microsoft.com/office/officeart/2005/8/layout/hProcess9"/>
    <dgm:cxn modelId="{C40F13FD-3CD7-4E0F-9F8C-679E999F0191}" type="presParOf" srcId="{0B601717-6021-4E3A-8B49-7A74F20A1E62}" destId="{36B62D65-B88C-4666-9979-9BE3FC2FFD3B}" srcOrd="1" destOrd="0" presId="urn:microsoft.com/office/officeart/2005/8/layout/hProcess9"/>
    <dgm:cxn modelId="{B1871C28-3AFD-4128-B595-9BF54E313854}" type="presParOf" srcId="{36B62D65-B88C-4666-9979-9BE3FC2FFD3B}" destId="{2DC26520-AA7B-4640-B497-A03AE4462517}"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AC6D12C-C771-4129-A46C-7C0F120D1907}"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631B552-3879-4E34-AAF8-DCB3F1D70311}">
      <dgm:prSet/>
      <dgm:spPr/>
      <dgm:t>
        <a:bodyPr/>
        <a:lstStyle/>
        <a:p>
          <a:r>
            <a:rPr lang="en-US" baseline="0" dirty="0"/>
            <a:t>Use Trace Flag 1222 or 1204 to write deadlock information in SQL Server Error log.</a:t>
          </a:r>
          <a:endParaRPr lang="en-US" dirty="0"/>
        </a:p>
      </dgm:t>
    </dgm:pt>
    <dgm:pt modelId="{416A3208-4030-4D14-9D12-B79E6DD9801B}" type="parTrans" cxnId="{AB6E26EA-A02A-419B-B96A-DC36A2DE0DB7}">
      <dgm:prSet/>
      <dgm:spPr/>
      <dgm:t>
        <a:bodyPr/>
        <a:lstStyle/>
        <a:p>
          <a:endParaRPr lang="en-US"/>
        </a:p>
      </dgm:t>
    </dgm:pt>
    <dgm:pt modelId="{F058BC83-D36C-485C-87C0-364B306EBCA1}" type="sibTrans" cxnId="{AB6E26EA-A02A-419B-B96A-DC36A2DE0DB7}">
      <dgm:prSet/>
      <dgm:spPr/>
      <dgm:t>
        <a:bodyPr/>
        <a:lstStyle/>
        <a:p>
          <a:endParaRPr lang="en-US"/>
        </a:p>
      </dgm:t>
    </dgm:pt>
    <dgm:pt modelId="{172ED59A-5F9C-4933-82F6-218A7025BA4A}" type="pres">
      <dgm:prSet presAssocID="{6AC6D12C-C771-4129-A46C-7C0F120D1907}" presName="linear" presStyleCnt="0">
        <dgm:presLayoutVars>
          <dgm:animLvl val="lvl"/>
          <dgm:resizeHandles val="exact"/>
        </dgm:presLayoutVars>
      </dgm:prSet>
      <dgm:spPr/>
    </dgm:pt>
    <dgm:pt modelId="{1C9C5BE4-3413-4B3B-90AA-709C0C8D01A8}" type="pres">
      <dgm:prSet presAssocID="{E631B552-3879-4E34-AAF8-DCB3F1D70311}" presName="parentText" presStyleLbl="node1" presStyleIdx="0" presStyleCnt="1">
        <dgm:presLayoutVars>
          <dgm:chMax val="0"/>
          <dgm:bulletEnabled val="1"/>
        </dgm:presLayoutVars>
      </dgm:prSet>
      <dgm:spPr/>
    </dgm:pt>
  </dgm:ptLst>
  <dgm:cxnLst>
    <dgm:cxn modelId="{AFA38A2C-4A7B-49DE-BE44-E0B5E61F8B73}" type="presOf" srcId="{6AC6D12C-C771-4129-A46C-7C0F120D1907}" destId="{172ED59A-5F9C-4933-82F6-218A7025BA4A}" srcOrd="0" destOrd="0" presId="urn:microsoft.com/office/officeart/2005/8/layout/vList2"/>
    <dgm:cxn modelId="{B32C6344-069A-4DF9-ADD6-3FBB5506E57D}" type="presOf" srcId="{E631B552-3879-4E34-AAF8-DCB3F1D70311}" destId="{1C9C5BE4-3413-4B3B-90AA-709C0C8D01A8}" srcOrd="0" destOrd="0" presId="urn:microsoft.com/office/officeart/2005/8/layout/vList2"/>
    <dgm:cxn modelId="{AB6E26EA-A02A-419B-B96A-DC36A2DE0DB7}" srcId="{6AC6D12C-C771-4129-A46C-7C0F120D1907}" destId="{E631B552-3879-4E34-AAF8-DCB3F1D70311}" srcOrd="0" destOrd="0" parTransId="{416A3208-4030-4D14-9D12-B79E6DD9801B}" sibTransId="{F058BC83-D36C-485C-87C0-364B306EBCA1}"/>
    <dgm:cxn modelId="{D9645B05-3C32-4B42-A367-182FABB3106A}" type="presParOf" srcId="{172ED59A-5F9C-4933-82F6-218A7025BA4A}" destId="{1C9C5BE4-3413-4B3B-90AA-709C0C8D01A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AE437C-A81D-494D-A17B-2B7A1C13852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DA4F93E4-A389-444F-BFCB-B6F03A9D4C16}" type="pres">
      <dgm:prSet presAssocID="{09AE437C-A81D-494D-A17B-2B7A1C13852C}" presName="linear" presStyleCnt="0">
        <dgm:presLayoutVars>
          <dgm:animLvl val="lvl"/>
          <dgm:resizeHandles val="exact"/>
        </dgm:presLayoutVars>
      </dgm:prSet>
      <dgm:spPr/>
    </dgm:pt>
    <dgm:pt modelId="{A8683608-1B6C-4154-BA20-3434A42D2C9A}" type="pres">
      <dgm:prSet presAssocID="{47200025-BB23-4226-B24A-2B5170DEF870}" presName="parentText" presStyleLbl="node1" presStyleIdx="0" presStyleCnt="3">
        <dgm:presLayoutVars>
          <dgm:chMax val="0"/>
          <dgm:bulletEnabled val="1"/>
        </dgm:presLayoutVars>
      </dgm:prSet>
      <dgm:spPr/>
    </dgm:pt>
    <dgm:pt modelId="{2A62F114-3965-44AC-AE8E-1C7C4F243D39}" type="pres">
      <dgm:prSet presAssocID="{47200025-BB23-4226-B24A-2B5170DEF870}" presName="childText" presStyleLbl="revTx" presStyleIdx="0" presStyleCnt="3">
        <dgm:presLayoutVars>
          <dgm:bulletEnabled val="1"/>
        </dgm:presLayoutVars>
      </dgm:prSet>
      <dgm:spPr/>
    </dgm:pt>
    <dgm:pt modelId="{264F40D0-A7D0-460C-8850-834FB3F3E3EF}" type="pres">
      <dgm:prSet presAssocID="{DE1D5CD6-00C5-49A7-BFF0-8A453C6730CA}" presName="parentText" presStyleLbl="node1" presStyleIdx="1" presStyleCnt="3">
        <dgm:presLayoutVars>
          <dgm:chMax val="0"/>
          <dgm:bulletEnabled val="1"/>
        </dgm:presLayoutVars>
      </dgm:prSet>
      <dgm:spPr/>
    </dgm:pt>
    <dgm:pt modelId="{8138CB3C-EF72-46AF-AF3F-5CA91D381467}" type="pres">
      <dgm:prSet presAssocID="{DE1D5CD6-00C5-49A7-BFF0-8A453C6730CA}" presName="childText" presStyleLbl="revTx" presStyleIdx="1" presStyleCnt="3">
        <dgm:presLayoutVars>
          <dgm:bulletEnabled val="1"/>
        </dgm:presLayoutVars>
      </dgm:prSet>
      <dgm:spPr/>
    </dgm:pt>
    <dgm:pt modelId="{5DF5FE24-4774-4F6A-B7C9-C52175E6BAE6}" type="pres">
      <dgm:prSet presAssocID="{6DA8CBA7-AD78-494C-9EF7-D6BB18D8D9AC}" presName="parentText" presStyleLbl="node1" presStyleIdx="2" presStyleCnt="3">
        <dgm:presLayoutVars>
          <dgm:chMax val="0"/>
          <dgm:bulletEnabled val="1"/>
        </dgm:presLayoutVars>
      </dgm:prSet>
      <dgm:spPr/>
    </dgm:pt>
    <dgm:pt modelId="{D228669B-809F-4FF4-983F-C326EB7C8750}" type="pres">
      <dgm:prSet presAssocID="{6DA8CBA7-AD78-494C-9EF7-D6BB18D8D9AC}" presName="childText" presStyleLbl="revTx" presStyleIdx="2" presStyleCnt="3">
        <dgm:presLayoutVars>
          <dgm:bulletEnabled val="1"/>
        </dgm:presLayoutVars>
      </dgm:prSet>
      <dgm:spPr/>
    </dgm:pt>
  </dgm:ptLst>
  <dgm:cxnLst>
    <dgm:cxn modelId="{CFBD950B-3AFE-434C-A0BE-CAE63CDF816A}" type="presOf" srcId="{98FA53D5-E071-464F-BE98-2283F2939B8E}" destId="{2A62F114-3965-44AC-AE8E-1C7C4F243D39}" srcOrd="0" destOrd="0" presId="urn:microsoft.com/office/officeart/2005/8/layout/vList2"/>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096D7E64-7338-4208-AE7A-F0632E7F8A62}" type="presOf" srcId="{DE1D5CD6-00C5-49A7-BFF0-8A453C6730CA}" destId="{264F40D0-A7D0-460C-8850-834FB3F3E3EF}" srcOrd="0" destOrd="0" presId="urn:microsoft.com/office/officeart/2005/8/layout/vList2"/>
    <dgm:cxn modelId="{AED04949-5ABC-41EC-ACA7-CD31630860F2}" type="presOf" srcId="{6DA8CBA7-AD78-494C-9EF7-D6BB18D8D9AC}" destId="{5DF5FE24-4774-4F6A-B7C9-C52175E6BAE6}" srcOrd="0" destOrd="0" presId="urn:microsoft.com/office/officeart/2005/8/layout/vList2"/>
    <dgm:cxn modelId="{CE937E74-127F-4CFA-AEF5-8A983CFF379C}" srcId="{09AE437C-A81D-494D-A17B-2B7A1C13852C}" destId="{6DA8CBA7-AD78-494C-9EF7-D6BB18D8D9AC}" srcOrd="2" destOrd="0" parTransId="{43461116-168C-4380-ABB1-9B7CB45BE9F8}" sibTransId="{43198BCF-4CB9-44B6-96A6-37562484F60A}"/>
    <dgm:cxn modelId="{C895ACAF-60D0-4441-A94C-9615FD9F2EE1}" type="presOf" srcId="{47200025-BB23-4226-B24A-2B5170DEF870}" destId="{A8683608-1B6C-4154-BA20-3434A42D2C9A}" srcOrd="0" destOrd="0" presId="urn:microsoft.com/office/officeart/2005/8/layout/vList2"/>
    <dgm:cxn modelId="{1E3DACC2-DB90-43E5-9438-763FF757B037}" type="presOf" srcId="{09AE437C-A81D-494D-A17B-2B7A1C13852C}" destId="{DA4F93E4-A389-444F-BFCB-B6F03A9D4C16}" srcOrd="0" destOrd="0" presId="urn:microsoft.com/office/officeart/2005/8/layout/vList2"/>
    <dgm:cxn modelId="{829A8BC7-B73E-49F9-B267-C68075CED83F}" srcId="{DE1D5CD6-00C5-49A7-BFF0-8A453C6730CA}" destId="{1E9EE2E3-88AB-48B3-9666-11088BF7BC4B}" srcOrd="0" destOrd="0" parTransId="{C0415651-1878-4011-8F66-5FD4039F8F75}" sibTransId="{EC5E8A2B-D2C9-49FF-B756-2BC273E8CC4B}"/>
    <dgm:cxn modelId="{84C90EE7-8E91-4E22-806E-AC7B18F91A1D}" type="presOf" srcId="{1E9EE2E3-88AB-48B3-9666-11088BF7BC4B}" destId="{8138CB3C-EF72-46AF-AF3F-5CA91D381467}" srcOrd="0" destOrd="0" presId="urn:microsoft.com/office/officeart/2005/8/layout/vList2"/>
    <dgm:cxn modelId="{7D0600FC-C0AB-4BC8-A9F8-87FCA3501366}" type="presOf" srcId="{3EB283D2-BEF0-4D2C-93BB-5E1F62F283E8}" destId="{D228669B-809F-4FF4-983F-C326EB7C8750}" srcOrd="0" destOrd="0" presId="urn:microsoft.com/office/officeart/2005/8/layout/vList2"/>
    <dgm:cxn modelId="{817C8222-4217-4113-A196-1469D0321CD2}" type="presParOf" srcId="{DA4F93E4-A389-444F-BFCB-B6F03A9D4C16}" destId="{A8683608-1B6C-4154-BA20-3434A42D2C9A}" srcOrd="0" destOrd="0" presId="urn:microsoft.com/office/officeart/2005/8/layout/vList2"/>
    <dgm:cxn modelId="{C817CD2B-7D26-4B8F-B40C-8C0230109DCA}" type="presParOf" srcId="{DA4F93E4-A389-444F-BFCB-B6F03A9D4C16}" destId="{2A62F114-3965-44AC-AE8E-1C7C4F243D39}" srcOrd="1" destOrd="0" presId="urn:microsoft.com/office/officeart/2005/8/layout/vList2"/>
    <dgm:cxn modelId="{902C28AB-AA95-489C-A18E-91FE92906384}" type="presParOf" srcId="{DA4F93E4-A389-444F-BFCB-B6F03A9D4C16}" destId="{264F40D0-A7D0-460C-8850-834FB3F3E3EF}" srcOrd="2" destOrd="0" presId="urn:microsoft.com/office/officeart/2005/8/layout/vList2"/>
    <dgm:cxn modelId="{65BF357C-B9CA-4FA8-BADA-F0C684454BB9}" type="presParOf" srcId="{DA4F93E4-A389-444F-BFCB-B6F03A9D4C16}" destId="{8138CB3C-EF72-46AF-AF3F-5CA91D381467}" srcOrd="3" destOrd="0" presId="urn:microsoft.com/office/officeart/2005/8/layout/vList2"/>
    <dgm:cxn modelId="{162798B9-EBF7-4F00-8E46-CA73872ADF8B}" type="presParOf" srcId="{DA4F93E4-A389-444F-BFCB-B6F03A9D4C16}" destId="{5DF5FE24-4774-4F6A-B7C9-C52175E6BAE6}" srcOrd="4" destOrd="0" presId="urn:microsoft.com/office/officeart/2005/8/layout/vList2"/>
    <dgm:cxn modelId="{B349DF15-BCBF-4D1F-AA8F-09350EB0B907}" type="presParOf" srcId="{DA4F93E4-A389-444F-BFCB-B6F03A9D4C16}" destId="{D228669B-809F-4FF4-983F-C326EB7C8750}"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82694EB-8EB5-4640-9CEB-E1E310E61EC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3AB041F-535F-4343-91EF-DE0CD63B8447}">
      <dgm:prSet/>
      <dgm:spPr/>
      <dgm:t>
        <a:bodyPr/>
        <a:lstStyle/>
        <a:p>
          <a:r>
            <a:rPr lang="en-US" baseline="0" dirty="0"/>
            <a:t>SQL Server automatically selects the transaction that is the cheapest to roll back.</a:t>
          </a:r>
          <a:endParaRPr lang="en-US" dirty="0"/>
        </a:p>
      </dgm:t>
    </dgm:pt>
    <dgm:pt modelId="{333A16F4-0DA8-4158-BB82-DBA27A2F0C2A}" type="parTrans" cxnId="{6704E4EA-4B6A-4352-B462-902AD2937921}">
      <dgm:prSet/>
      <dgm:spPr/>
      <dgm:t>
        <a:bodyPr/>
        <a:lstStyle/>
        <a:p>
          <a:endParaRPr lang="en-US"/>
        </a:p>
      </dgm:t>
    </dgm:pt>
    <dgm:pt modelId="{B679028F-5E12-4880-888A-91CA2D967F1A}" type="sibTrans" cxnId="{6704E4EA-4B6A-4352-B462-902AD2937921}">
      <dgm:prSet/>
      <dgm:spPr/>
      <dgm:t>
        <a:bodyPr/>
        <a:lstStyle/>
        <a:p>
          <a:endParaRPr lang="en-US"/>
        </a:p>
      </dgm:t>
    </dgm:pt>
    <dgm:pt modelId="{330FC718-0247-4F01-AD9D-5C7B68223954}">
      <dgm:prSet/>
      <dgm:spPr/>
      <dgm:t>
        <a:bodyPr/>
        <a:lstStyle/>
        <a:p>
          <a:r>
            <a:rPr lang="en-US" baseline="0" dirty="0"/>
            <a:t>Use SET DEADLOCK_PRIORITY to change the likelihood of a batch being chosen as a victim.</a:t>
          </a:r>
          <a:endParaRPr lang="en-US" dirty="0"/>
        </a:p>
      </dgm:t>
    </dgm:pt>
    <dgm:pt modelId="{9CDCD22C-BB97-4FB6-9A36-A3AA2CB3D254}" type="parTrans" cxnId="{9BF7FDB3-6AC3-4A03-936E-8DEE8109E168}">
      <dgm:prSet/>
      <dgm:spPr/>
      <dgm:t>
        <a:bodyPr/>
        <a:lstStyle/>
        <a:p>
          <a:endParaRPr lang="en-US"/>
        </a:p>
      </dgm:t>
    </dgm:pt>
    <dgm:pt modelId="{3A3DB2A0-9EA1-416D-B7C4-828E962B0288}" type="sibTrans" cxnId="{9BF7FDB3-6AC3-4A03-936E-8DEE8109E168}">
      <dgm:prSet/>
      <dgm:spPr/>
      <dgm:t>
        <a:bodyPr/>
        <a:lstStyle/>
        <a:p>
          <a:endParaRPr lang="en-US"/>
        </a:p>
      </dgm:t>
    </dgm:pt>
    <dgm:pt modelId="{FC91CDBB-2353-41FD-8947-4805DF9EBEF1}">
      <dgm:prSet/>
      <dgm:spPr/>
      <dgm:t>
        <a:bodyPr/>
        <a:lstStyle/>
        <a:p>
          <a:r>
            <a:rPr lang="en-US" baseline="0" dirty="0"/>
            <a:t>Access the resources in the same order.</a:t>
          </a:r>
          <a:endParaRPr lang="en-US" dirty="0"/>
        </a:p>
      </dgm:t>
    </dgm:pt>
    <dgm:pt modelId="{F39EA713-0287-4446-AF6D-2A04518DD174}" type="parTrans" cxnId="{4D61CD29-20CF-4288-A21E-D674E196F544}">
      <dgm:prSet/>
      <dgm:spPr/>
      <dgm:t>
        <a:bodyPr/>
        <a:lstStyle/>
        <a:p>
          <a:endParaRPr lang="en-US"/>
        </a:p>
      </dgm:t>
    </dgm:pt>
    <dgm:pt modelId="{1C5A68C5-BD1B-4FB1-8B7D-8281A1D79684}" type="sibTrans" cxnId="{4D61CD29-20CF-4288-A21E-D674E196F544}">
      <dgm:prSet/>
      <dgm:spPr/>
      <dgm:t>
        <a:bodyPr/>
        <a:lstStyle/>
        <a:p>
          <a:endParaRPr lang="en-US"/>
        </a:p>
      </dgm:t>
    </dgm:pt>
    <dgm:pt modelId="{01EBCD9F-6F9B-4D38-905E-4FDD51037D79}">
      <dgm:prSet/>
      <dgm:spPr/>
      <dgm:t>
        <a:bodyPr/>
        <a:lstStyle/>
        <a:p>
          <a:r>
            <a:rPr lang="en-US" baseline="0" dirty="0"/>
            <a:t>Make the transactions simple and shorten the length of the transactions.</a:t>
          </a:r>
          <a:endParaRPr lang="en-US" dirty="0"/>
        </a:p>
      </dgm:t>
    </dgm:pt>
    <dgm:pt modelId="{3A4C751B-413E-4CD5-BF97-19175964BE83}" type="parTrans" cxnId="{F8467A36-336C-4B43-BDE2-6B2D1551B028}">
      <dgm:prSet/>
      <dgm:spPr/>
      <dgm:t>
        <a:bodyPr/>
        <a:lstStyle/>
        <a:p>
          <a:endParaRPr lang="en-US"/>
        </a:p>
      </dgm:t>
    </dgm:pt>
    <dgm:pt modelId="{1F5C9BF1-332A-4CF6-BD54-540D64983313}" type="sibTrans" cxnId="{F8467A36-336C-4B43-BDE2-6B2D1551B028}">
      <dgm:prSet/>
      <dgm:spPr/>
      <dgm:t>
        <a:bodyPr/>
        <a:lstStyle/>
        <a:p>
          <a:endParaRPr lang="en-US"/>
        </a:p>
      </dgm:t>
    </dgm:pt>
    <dgm:pt modelId="{FA71BBEC-3E4A-4531-A2EE-0AABEA136A9E}">
      <dgm:prSet/>
      <dgm:spPr/>
      <dgm:t>
        <a:bodyPr/>
        <a:lstStyle/>
        <a:p>
          <a:r>
            <a:rPr lang="en-US" baseline="0" dirty="0"/>
            <a:t>Use error handlers to capture deadlocks.</a:t>
          </a:r>
          <a:endParaRPr lang="en-US" dirty="0"/>
        </a:p>
      </dgm:t>
    </dgm:pt>
    <dgm:pt modelId="{E7D31117-E4D5-4EFC-AB7C-1D3323F589FB}" type="parTrans" cxnId="{657B96F9-743B-4E0B-AD3A-C2DED60CE3F7}">
      <dgm:prSet/>
      <dgm:spPr/>
      <dgm:t>
        <a:bodyPr/>
        <a:lstStyle/>
        <a:p>
          <a:endParaRPr lang="en-US"/>
        </a:p>
      </dgm:t>
    </dgm:pt>
    <dgm:pt modelId="{BEA2CAF1-29D3-4D3B-9D8B-3143BC71DB58}" type="sibTrans" cxnId="{657B96F9-743B-4E0B-AD3A-C2DED60CE3F7}">
      <dgm:prSet/>
      <dgm:spPr/>
      <dgm:t>
        <a:bodyPr/>
        <a:lstStyle/>
        <a:p>
          <a:endParaRPr lang="en-US"/>
        </a:p>
      </dgm:t>
    </dgm:pt>
    <dgm:pt modelId="{C5278F50-124C-4B3C-8F15-76CB00857855}" type="pres">
      <dgm:prSet presAssocID="{A82694EB-8EB5-4640-9CEB-E1E310E61EC3}" presName="diagram" presStyleCnt="0">
        <dgm:presLayoutVars>
          <dgm:dir/>
          <dgm:resizeHandles val="exact"/>
        </dgm:presLayoutVars>
      </dgm:prSet>
      <dgm:spPr/>
    </dgm:pt>
    <dgm:pt modelId="{EAF33F28-145A-439F-83A4-6AF84C970C3B}" type="pres">
      <dgm:prSet presAssocID="{33AB041F-535F-4343-91EF-DE0CD63B8447}" presName="node" presStyleLbl="node1" presStyleIdx="0" presStyleCnt="5">
        <dgm:presLayoutVars>
          <dgm:bulletEnabled val="1"/>
        </dgm:presLayoutVars>
      </dgm:prSet>
      <dgm:spPr/>
    </dgm:pt>
    <dgm:pt modelId="{AFA182C2-F818-4318-9423-465640178CB2}" type="pres">
      <dgm:prSet presAssocID="{B679028F-5E12-4880-888A-91CA2D967F1A}" presName="sibTrans" presStyleCnt="0"/>
      <dgm:spPr/>
    </dgm:pt>
    <dgm:pt modelId="{B430E5C7-AC55-4670-84E8-6FA26DE1BCB6}" type="pres">
      <dgm:prSet presAssocID="{330FC718-0247-4F01-AD9D-5C7B68223954}" presName="node" presStyleLbl="node1" presStyleIdx="1" presStyleCnt="5">
        <dgm:presLayoutVars>
          <dgm:bulletEnabled val="1"/>
        </dgm:presLayoutVars>
      </dgm:prSet>
      <dgm:spPr/>
    </dgm:pt>
    <dgm:pt modelId="{8EC3A8FC-23D5-4EB7-9A0C-6EAB01B0A460}" type="pres">
      <dgm:prSet presAssocID="{3A3DB2A0-9EA1-416D-B7C4-828E962B0288}" presName="sibTrans" presStyleCnt="0"/>
      <dgm:spPr/>
    </dgm:pt>
    <dgm:pt modelId="{4B8B6BF5-5A45-49EE-89BA-9D4C7695037B}" type="pres">
      <dgm:prSet presAssocID="{FC91CDBB-2353-41FD-8947-4805DF9EBEF1}" presName="node" presStyleLbl="node1" presStyleIdx="2" presStyleCnt="5">
        <dgm:presLayoutVars>
          <dgm:bulletEnabled val="1"/>
        </dgm:presLayoutVars>
      </dgm:prSet>
      <dgm:spPr/>
    </dgm:pt>
    <dgm:pt modelId="{C654CABA-D9D0-4550-9DB7-480449289636}" type="pres">
      <dgm:prSet presAssocID="{1C5A68C5-BD1B-4FB1-8B7D-8281A1D79684}" presName="sibTrans" presStyleCnt="0"/>
      <dgm:spPr/>
    </dgm:pt>
    <dgm:pt modelId="{4A9B670D-CDEC-4AC8-91A6-CDD261812236}" type="pres">
      <dgm:prSet presAssocID="{01EBCD9F-6F9B-4D38-905E-4FDD51037D79}" presName="node" presStyleLbl="node1" presStyleIdx="3" presStyleCnt="5">
        <dgm:presLayoutVars>
          <dgm:bulletEnabled val="1"/>
        </dgm:presLayoutVars>
      </dgm:prSet>
      <dgm:spPr/>
    </dgm:pt>
    <dgm:pt modelId="{8A369F35-E7A5-4ED6-BFC5-78F76A287420}" type="pres">
      <dgm:prSet presAssocID="{1F5C9BF1-332A-4CF6-BD54-540D64983313}" presName="sibTrans" presStyleCnt="0"/>
      <dgm:spPr/>
    </dgm:pt>
    <dgm:pt modelId="{5A19B7D9-53A4-434B-A004-6760CF8C8B5D}" type="pres">
      <dgm:prSet presAssocID="{FA71BBEC-3E4A-4531-A2EE-0AABEA136A9E}" presName="node" presStyleLbl="node1" presStyleIdx="4" presStyleCnt="5">
        <dgm:presLayoutVars>
          <dgm:bulletEnabled val="1"/>
        </dgm:presLayoutVars>
      </dgm:prSet>
      <dgm:spPr/>
    </dgm:pt>
  </dgm:ptLst>
  <dgm:cxnLst>
    <dgm:cxn modelId="{4D61CD29-20CF-4288-A21E-D674E196F544}" srcId="{A82694EB-8EB5-4640-9CEB-E1E310E61EC3}" destId="{FC91CDBB-2353-41FD-8947-4805DF9EBEF1}" srcOrd="2" destOrd="0" parTransId="{F39EA713-0287-4446-AF6D-2A04518DD174}" sibTransId="{1C5A68C5-BD1B-4FB1-8B7D-8281A1D79684}"/>
    <dgm:cxn modelId="{A20F162C-CC84-4A17-9C8D-3F4E349868BD}" type="presOf" srcId="{33AB041F-535F-4343-91EF-DE0CD63B8447}" destId="{EAF33F28-145A-439F-83A4-6AF84C970C3B}" srcOrd="0" destOrd="0" presId="urn:microsoft.com/office/officeart/2005/8/layout/default"/>
    <dgm:cxn modelId="{F8467A36-336C-4B43-BDE2-6B2D1551B028}" srcId="{A82694EB-8EB5-4640-9CEB-E1E310E61EC3}" destId="{01EBCD9F-6F9B-4D38-905E-4FDD51037D79}" srcOrd="3" destOrd="0" parTransId="{3A4C751B-413E-4CD5-BF97-19175964BE83}" sibTransId="{1F5C9BF1-332A-4CF6-BD54-540D64983313}"/>
    <dgm:cxn modelId="{01E06367-555C-4DBF-A7CF-38F72B0F1122}" type="presOf" srcId="{330FC718-0247-4F01-AD9D-5C7B68223954}" destId="{B430E5C7-AC55-4670-84E8-6FA26DE1BCB6}" srcOrd="0" destOrd="0" presId="urn:microsoft.com/office/officeart/2005/8/layout/default"/>
    <dgm:cxn modelId="{9BF7FDB3-6AC3-4A03-936E-8DEE8109E168}" srcId="{A82694EB-8EB5-4640-9CEB-E1E310E61EC3}" destId="{330FC718-0247-4F01-AD9D-5C7B68223954}" srcOrd="1" destOrd="0" parTransId="{9CDCD22C-BB97-4FB6-9A36-A3AA2CB3D254}" sibTransId="{3A3DB2A0-9EA1-416D-B7C4-828E962B0288}"/>
    <dgm:cxn modelId="{20BFACC3-5038-41FD-AECB-78D6489ADF2B}" type="presOf" srcId="{01EBCD9F-6F9B-4D38-905E-4FDD51037D79}" destId="{4A9B670D-CDEC-4AC8-91A6-CDD261812236}" srcOrd="0" destOrd="0" presId="urn:microsoft.com/office/officeart/2005/8/layout/default"/>
    <dgm:cxn modelId="{6704E4EA-4B6A-4352-B462-902AD2937921}" srcId="{A82694EB-8EB5-4640-9CEB-E1E310E61EC3}" destId="{33AB041F-535F-4343-91EF-DE0CD63B8447}" srcOrd="0" destOrd="0" parTransId="{333A16F4-0DA8-4158-BB82-DBA27A2F0C2A}" sibTransId="{B679028F-5E12-4880-888A-91CA2D967F1A}"/>
    <dgm:cxn modelId="{97E279F0-FE09-428F-8998-3492DC7D709F}" type="presOf" srcId="{FA71BBEC-3E4A-4531-A2EE-0AABEA136A9E}" destId="{5A19B7D9-53A4-434B-A004-6760CF8C8B5D}" srcOrd="0" destOrd="0" presId="urn:microsoft.com/office/officeart/2005/8/layout/default"/>
    <dgm:cxn modelId="{CB0B9AF0-77F9-4E96-91A7-CE600D6071A2}" type="presOf" srcId="{FC91CDBB-2353-41FD-8947-4805DF9EBEF1}" destId="{4B8B6BF5-5A45-49EE-89BA-9D4C7695037B}" srcOrd="0" destOrd="0" presId="urn:microsoft.com/office/officeart/2005/8/layout/default"/>
    <dgm:cxn modelId="{657B96F9-743B-4E0B-AD3A-C2DED60CE3F7}" srcId="{A82694EB-8EB5-4640-9CEB-E1E310E61EC3}" destId="{FA71BBEC-3E4A-4531-A2EE-0AABEA136A9E}" srcOrd="4" destOrd="0" parTransId="{E7D31117-E4D5-4EFC-AB7C-1D3323F589FB}" sibTransId="{BEA2CAF1-29D3-4D3B-9D8B-3143BC71DB58}"/>
    <dgm:cxn modelId="{28CFBFF9-A6FE-419E-8443-A8D77C05F43C}" type="presOf" srcId="{A82694EB-8EB5-4640-9CEB-E1E310E61EC3}" destId="{C5278F50-124C-4B3C-8F15-76CB00857855}" srcOrd="0" destOrd="0" presId="urn:microsoft.com/office/officeart/2005/8/layout/default"/>
    <dgm:cxn modelId="{09BD7B2E-C249-4D99-8D06-D27CC1BE393D}" type="presParOf" srcId="{C5278F50-124C-4B3C-8F15-76CB00857855}" destId="{EAF33F28-145A-439F-83A4-6AF84C970C3B}" srcOrd="0" destOrd="0" presId="urn:microsoft.com/office/officeart/2005/8/layout/default"/>
    <dgm:cxn modelId="{35C408F0-BBFA-4C15-AD6E-BAF69E984A70}" type="presParOf" srcId="{C5278F50-124C-4B3C-8F15-76CB00857855}" destId="{AFA182C2-F818-4318-9423-465640178CB2}" srcOrd="1" destOrd="0" presId="urn:microsoft.com/office/officeart/2005/8/layout/default"/>
    <dgm:cxn modelId="{E5ACFAE6-3D6B-4E3C-A04A-2D3FDD435BAE}" type="presParOf" srcId="{C5278F50-124C-4B3C-8F15-76CB00857855}" destId="{B430E5C7-AC55-4670-84E8-6FA26DE1BCB6}" srcOrd="2" destOrd="0" presId="urn:microsoft.com/office/officeart/2005/8/layout/default"/>
    <dgm:cxn modelId="{7274B942-6B28-4D72-932A-91105D1050A5}" type="presParOf" srcId="{C5278F50-124C-4B3C-8F15-76CB00857855}" destId="{8EC3A8FC-23D5-4EB7-9A0C-6EAB01B0A460}" srcOrd="3" destOrd="0" presId="urn:microsoft.com/office/officeart/2005/8/layout/default"/>
    <dgm:cxn modelId="{C598E621-2A2C-4B78-B678-DFC233FEF874}" type="presParOf" srcId="{C5278F50-124C-4B3C-8F15-76CB00857855}" destId="{4B8B6BF5-5A45-49EE-89BA-9D4C7695037B}" srcOrd="4" destOrd="0" presId="urn:microsoft.com/office/officeart/2005/8/layout/default"/>
    <dgm:cxn modelId="{FC208D74-73F8-42C7-BF1E-4EB9071BC469}" type="presParOf" srcId="{C5278F50-124C-4B3C-8F15-76CB00857855}" destId="{C654CABA-D9D0-4550-9DB7-480449289636}" srcOrd="5" destOrd="0" presId="urn:microsoft.com/office/officeart/2005/8/layout/default"/>
    <dgm:cxn modelId="{BB37A69D-066C-4D01-97BE-4A02FB11615F}" type="presParOf" srcId="{C5278F50-124C-4B3C-8F15-76CB00857855}" destId="{4A9B670D-CDEC-4AC8-91A6-CDD261812236}" srcOrd="6" destOrd="0" presId="urn:microsoft.com/office/officeart/2005/8/layout/default"/>
    <dgm:cxn modelId="{889667CF-FD28-4209-93BE-BEF7C4767FDC}" type="presParOf" srcId="{C5278F50-124C-4B3C-8F15-76CB00857855}" destId="{8A369F35-E7A5-4ED6-BFC5-78F76A287420}" srcOrd="7" destOrd="0" presId="urn:microsoft.com/office/officeart/2005/8/layout/default"/>
    <dgm:cxn modelId="{B87B45DA-3017-47E9-A930-AEEB6AC632F0}" type="presParOf" srcId="{C5278F50-124C-4B3C-8F15-76CB00857855}" destId="{5A19B7D9-53A4-434B-A004-6760CF8C8B5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8A3020-0B8B-492D-AD83-560724CED8B0}">
      <dgm:prSet/>
      <dgm:spPr/>
      <dgm:t>
        <a:bodyPr/>
        <a:lstStyle/>
        <a:p>
          <a:r>
            <a:rPr lang="en-US" dirty="0"/>
            <a:t>Each statement is either committed or rolled back automatically upon completion.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dgm:spPr/>
      <dgm:t>
        <a:bodyPr/>
        <a:lstStyle/>
        <a:p>
          <a:r>
            <a:rPr lang="en-US"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dgm:spPr/>
      <dgm:t>
        <a:bodyPr/>
        <a:lstStyle/>
        <a:p>
          <a:r>
            <a:rPr lang="en-US"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25ADA576-2249-4E75-BE17-221777166772}">
      <dgm:prSet/>
      <dgm:spPr/>
      <dgm:t>
        <a:bodyPr/>
        <a:lstStyle/>
        <a:p>
          <a:r>
            <a:rPr lang="en-US" dirty="0"/>
            <a:t>Database engine operates in autocommit until started an explicit transaction</a:t>
          </a:r>
        </a:p>
      </dgm:t>
    </dgm:pt>
    <dgm:pt modelId="{55856F42-3F1B-4888-8416-AB31CD4AE7C0}" type="parTrans" cxnId="{1E32DCDB-483A-4451-B57D-E157A8006C33}">
      <dgm:prSet/>
      <dgm:spPr/>
      <dgm:t>
        <a:bodyPr/>
        <a:lstStyle/>
        <a:p>
          <a:endParaRPr lang="en-US"/>
        </a:p>
      </dgm:t>
    </dgm:pt>
    <dgm:pt modelId="{AF3F06F5-2CDB-4466-B51E-49B92CA4FFE6}" type="sibTrans" cxnId="{1E32DCDB-483A-4451-B57D-E157A8006C33}">
      <dgm:prSet/>
      <dgm:spPr/>
      <dgm:t>
        <a:bodyPr/>
        <a:lstStyle/>
        <a:p>
          <a:endParaRPr lang="en-US"/>
        </a:p>
      </dgm:t>
    </dgm:pt>
    <dgm:pt modelId="{AF630ABB-859A-4683-B3AC-CEB0BDF3FD14}">
      <dgm:prSet/>
      <dgm:spPr/>
      <dgm:t>
        <a:bodyPr/>
        <a:lstStyle/>
        <a:p>
          <a:r>
            <a:rPr lang="en-US"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FA2FD6F0-DA91-4216-B642-D50559D85C42}">
      <dgm:prSet/>
      <dgm:spPr/>
      <dgm:t>
        <a:bodyPr/>
        <a:lstStyle/>
        <a:p>
          <a:r>
            <a:rPr lang="en-US" dirty="0"/>
            <a:t>Compilation errors not affected by XACT_ABORT ON</a:t>
          </a:r>
        </a:p>
      </dgm:t>
    </dgm:pt>
    <dgm:pt modelId="{EFD416C2-E771-4A04-A292-EDB892567719}" type="parTrans" cxnId="{75A9E5EE-84C9-43C4-BB0E-C26A344ACF64}">
      <dgm:prSet/>
      <dgm:spPr/>
      <dgm:t>
        <a:bodyPr/>
        <a:lstStyle/>
        <a:p>
          <a:endParaRPr lang="en-US"/>
        </a:p>
      </dgm:t>
    </dgm:pt>
    <dgm:pt modelId="{A4648F83-0B31-4656-9ABF-F7BD2C7E4C57}" type="sibTrans" cxnId="{75A9E5EE-84C9-43C4-BB0E-C26A344ACF64}">
      <dgm:prSet/>
      <dgm:spPr/>
      <dgm:t>
        <a:bodyPr/>
        <a:lstStyle/>
        <a:p>
          <a:endParaRPr lang="en-US"/>
        </a:p>
      </dgm:t>
    </dgm:pt>
    <dgm:pt modelId="{7E72FF1E-22F6-4344-92C7-2A1FBEA2A03A}">
      <dgm:prSet/>
      <dgm:spPr/>
      <dgm:t>
        <a:bodyPr/>
        <a:lstStyle/>
        <a:p>
          <a:r>
            <a:rPr lang="en-US"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dgm:spPr/>
      <dgm:t>
        <a:bodyPr/>
        <a:lstStyle/>
        <a:p>
          <a:r>
            <a:rPr lang="en-US"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9BCD32D9-3AE7-4305-AC5E-0E77194B0F2C}" type="pres">
      <dgm:prSet presAssocID="{733301ED-49DA-4A2D-9050-A54D9EEEC260}" presName="linear" presStyleCnt="0">
        <dgm:presLayoutVars>
          <dgm:animLvl val="lvl"/>
          <dgm:resizeHandles val="exact"/>
        </dgm:presLayoutVars>
      </dgm:prSet>
      <dgm:spPr/>
    </dgm:pt>
    <dgm:pt modelId="{378405AB-F2AE-43B9-BCBA-5D5C084AA277}" type="pres">
      <dgm:prSet presAssocID="{068A3020-0B8B-492D-AD83-560724CED8B0}" presName="parentText" presStyleLbl="node1" presStyleIdx="0" presStyleCnt="6">
        <dgm:presLayoutVars>
          <dgm:chMax val="0"/>
          <dgm:bulletEnabled val="1"/>
        </dgm:presLayoutVars>
      </dgm:prSet>
      <dgm:spPr/>
    </dgm:pt>
    <dgm:pt modelId="{A43785CE-46B5-44BB-A91F-4C56BDE702E3}" type="pres">
      <dgm:prSet presAssocID="{35BD0EFB-87F2-4B09-8F7F-B213EC1233E8}" presName="spacer" presStyleCnt="0"/>
      <dgm:spPr/>
    </dgm:pt>
    <dgm:pt modelId="{4A7C77B9-2015-46EC-AE8E-5C6CE5EC760B}" type="pres">
      <dgm:prSet presAssocID="{F4CD25D1-0D0F-452B-A75C-30C4CB9D603F}" presName="parentText" presStyleLbl="node1" presStyleIdx="1" presStyleCnt="6">
        <dgm:presLayoutVars>
          <dgm:chMax val="0"/>
          <dgm:bulletEnabled val="1"/>
        </dgm:presLayoutVars>
      </dgm:prSet>
      <dgm:spPr/>
    </dgm:pt>
    <dgm:pt modelId="{BCEDD40F-B000-4F99-8B59-84B5689494FB}" type="pres">
      <dgm:prSet presAssocID="{F4CD25D1-0D0F-452B-A75C-30C4CB9D603F}" presName="childText" presStyleLbl="revTx" presStyleIdx="0" presStyleCnt="2">
        <dgm:presLayoutVars>
          <dgm:bulletEnabled val="1"/>
        </dgm:presLayoutVars>
      </dgm:prSet>
      <dgm:spPr/>
    </dgm:pt>
    <dgm:pt modelId="{584F3C90-7C68-4C6B-A49A-D8991FE0E732}" type="pres">
      <dgm:prSet presAssocID="{50292B9B-D666-4FA6-B4FA-B32E2A11FD14}" presName="parentText" presStyleLbl="node1" presStyleIdx="2" presStyleCnt="6">
        <dgm:presLayoutVars>
          <dgm:chMax val="0"/>
          <dgm:bulletEnabled val="1"/>
        </dgm:presLayoutVars>
      </dgm:prSet>
      <dgm:spPr/>
    </dgm:pt>
    <dgm:pt modelId="{E57EF1F7-E361-48D9-8A86-E88FF253FA34}" type="pres">
      <dgm:prSet presAssocID="{50292B9B-D666-4FA6-B4FA-B32E2A11FD14}" presName="childText" presStyleLbl="revTx" presStyleIdx="1" presStyleCnt="2">
        <dgm:presLayoutVars>
          <dgm:bulletEnabled val="1"/>
        </dgm:presLayoutVars>
      </dgm:prSet>
      <dgm:spPr/>
    </dgm:pt>
    <dgm:pt modelId="{6E47B004-2D7F-4852-9C58-AD6957926EB3}" type="pres">
      <dgm:prSet presAssocID="{25ADA576-2249-4E75-BE17-221777166772}" presName="parentText" presStyleLbl="node1" presStyleIdx="3" presStyleCnt="6">
        <dgm:presLayoutVars>
          <dgm:chMax val="0"/>
          <dgm:bulletEnabled val="1"/>
        </dgm:presLayoutVars>
      </dgm:prSet>
      <dgm:spPr/>
    </dgm:pt>
    <dgm:pt modelId="{4BF8431A-7DA0-42D9-9E6F-9F82B2FC344B}" type="pres">
      <dgm:prSet presAssocID="{AF3F06F5-2CDB-4466-B51E-49B92CA4FFE6}" presName="spacer" presStyleCnt="0"/>
      <dgm:spPr/>
    </dgm:pt>
    <dgm:pt modelId="{14BFC39C-F540-434A-B663-DEDA45735C64}" type="pres">
      <dgm:prSet presAssocID="{AF630ABB-859A-4683-B3AC-CEB0BDF3FD14}" presName="parentText" presStyleLbl="node1" presStyleIdx="4" presStyleCnt="6">
        <dgm:presLayoutVars>
          <dgm:chMax val="0"/>
          <dgm:bulletEnabled val="1"/>
        </dgm:presLayoutVars>
      </dgm:prSet>
      <dgm:spPr/>
    </dgm:pt>
    <dgm:pt modelId="{51E29154-5038-4FBE-90CE-0D6E35394676}" type="pres">
      <dgm:prSet presAssocID="{AEDD4759-CD34-4254-8FDD-33DF3F5EFDFC}" presName="spacer" presStyleCnt="0"/>
      <dgm:spPr/>
    </dgm:pt>
    <dgm:pt modelId="{5C24F798-63E8-4F2D-A6C9-D9791365492A}" type="pres">
      <dgm:prSet presAssocID="{FA2FD6F0-DA91-4216-B642-D50559D85C42}" presName="parentText" presStyleLbl="node1" presStyleIdx="5" presStyleCnt="6">
        <dgm:presLayoutVars>
          <dgm:chMax val="0"/>
          <dgm:bulletEnabled val="1"/>
        </dgm:presLayoutVars>
      </dgm:prSet>
      <dgm:spPr/>
    </dgm:pt>
  </dgm:ptLst>
  <dgm:cxnLst>
    <dgm:cxn modelId="{CE9D0B12-01BA-4032-9B75-E7861FEE3879}" type="presOf" srcId="{068A3020-0B8B-492D-AD83-560724CED8B0}" destId="{378405AB-F2AE-43B9-BCBA-5D5C084AA277}"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36A8DC43-8129-4B8F-9A4D-B35E009FA728}" type="presOf" srcId="{7E72FF1E-22F6-4344-92C7-2A1FBEA2A03A}" destId="{E57EF1F7-E361-48D9-8A86-E88FF253FA34}" srcOrd="0" destOrd="0" presId="urn:microsoft.com/office/officeart/2005/8/layout/vList2"/>
    <dgm:cxn modelId="{46B17864-D258-40B5-95E1-151C707BF7C9}" type="presOf" srcId="{50292B9B-D666-4FA6-B4FA-B32E2A11FD14}" destId="{584F3C90-7C68-4C6B-A49A-D8991FE0E732}" srcOrd="0" destOrd="0" presId="urn:microsoft.com/office/officeart/2005/8/layout/vList2"/>
    <dgm:cxn modelId="{0089F266-6D37-473A-A335-A40948A0F50B}" srcId="{F4CD25D1-0D0F-452B-A75C-30C4CB9D603F}" destId="{D01BCDCE-BEF9-4459-B80C-62C719034D0A}" srcOrd="0" destOrd="0" parTransId="{3D74E549-6581-4855-8594-CF7168C247C9}" sibTransId="{F09D2263-2ED0-4A1C-BD83-D77C2661D514}"/>
    <dgm:cxn modelId="{5067907C-83E3-4CE7-A555-44BE72FF8812}" type="presOf" srcId="{FA2FD6F0-DA91-4216-B642-D50559D85C42}" destId="{5C24F798-63E8-4F2D-A6C9-D9791365492A}" srcOrd="0" destOrd="0" presId="urn:microsoft.com/office/officeart/2005/8/layout/vList2"/>
    <dgm:cxn modelId="{6AB00996-C154-415D-AD4E-A72A51A5B96C}" srcId="{733301ED-49DA-4A2D-9050-A54D9EEEC260}" destId="{AF630ABB-859A-4683-B3AC-CEB0BDF3FD14}" srcOrd="4" destOrd="0" parTransId="{23C36904-B5F1-4D20-BA9C-176D02DADAC2}" sibTransId="{AEDD4759-CD34-4254-8FDD-33DF3F5EFDFC}"/>
    <dgm:cxn modelId="{4ED21099-DDDB-48E7-BDB3-D10B96F7778E}" type="presOf" srcId="{25ADA576-2249-4E75-BE17-221777166772}" destId="{6E47B004-2D7F-4852-9C58-AD6957926EB3}" srcOrd="0" destOrd="0" presId="urn:microsoft.com/office/officeart/2005/8/layout/vList2"/>
    <dgm:cxn modelId="{147359A8-24F2-43B6-B377-3D403A4BC3CC}" type="presOf" srcId="{AF630ABB-859A-4683-B3AC-CEB0BDF3FD14}" destId="{14BFC39C-F540-434A-B663-DEDA45735C64}" srcOrd="0" destOrd="0" presId="urn:microsoft.com/office/officeart/2005/8/layout/vList2"/>
    <dgm:cxn modelId="{C29FCFC3-EE34-468D-A048-50E523E2CA71}" srcId="{733301ED-49DA-4A2D-9050-A54D9EEEC260}" destId="{068A3020-0B8B-492D-AD83-560724CED8B0}" srcOrd="0" destOrd="0" parTransId="{6C1B5DE9-F4AB-4D7F-8CB1-6CDA3D8B46BA}" sibTransId="{35BD0EFB-87F2-4B09-8F7F-B213EC1233E8}"/>
    <dgm:cxn modelId="{BB590AD3-1765-40CA-AA1B-70F386760CF9}" type="presOf" srcId="{733301ED-49DA-4A2D-9050-A54D9EEEC260}" destId="{9BCD32D9-3AE7-4305-AC5E-0E77194B0F2C}" srcOrd="0" destOrd="0" presId="urn:microsoft.com/office/officeart/2005/8/layout/vList2"/>
    <dgm:cxn modelId="{E588B8D3-FF51-45BC-8376-4479A84AA133}" type="presOf" srcId="{D01BCDCE-BEF9-4459-B80C-62C719034D0A}" destId="{BCEDD40F-B000-4F99-8B59-84B5689494FB}" srcOrd="0" destOrd="0" presId="urn:microsoft.com/office/officeart/2005/8/layout/vList2"/>
    <dgm:cxn modelId="{1E32DCDB-483A-4451-B57D-E157A8006C33}" srcId="{733301ED-49DA-4A2D-9050-A54D9EEEC260}" destId="{25ADA576-2249-4E75-BE17-221777166772}" srcOrd="3" destOrd="0" parTransId="{55856F42-3F1B-4888-8416-AB31CD4AE7C0}" sibTransId="{AF3F06F5-2CDB-4466-B51E-49B92CA4FFE6}"/>
    <dgm:cxn modelId="{75A9E5EE-84C9-43C4-BB0E-C26A344ACF64}" srcId="{733301ED-49DA-4A2D-9050-A54D9EEEC260}" destId="{FA2FD6F0-DA91-4216-B642-D50559D85C42}" srcOrd="5" destOrd="0" parTransId="{EFD416C2-E771-4A04-A292-EDB892567719}" sibTransId="{A4648F83-0B31-4656-9ABF-F7BD2C7E4C57}"/>
    <dgm:cxn modelId="{BB6234F0-02A7-4C65-82C0-918168DF0D27}" type="presOf" srcId="{F4CD25D1-0D0F-452B-A75C-30C4CB9D603F}" destId="{4A7C77B9-2015-46EC-AE8E-5C6CE5EC760B}"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6807BE71-D5A2-4FC8-9DF8-21AD58366F19}" type="presParOf" srcId="{9BCD32D9-3AE7-4305-AC5E-0E77194B0F2C}" destId="{378405AB-F2AE-43B9-BCBA-5D5C084AA277}" srcOrd="0" destOrd="0" presId="urn:microsoft.com/office/officeart/2005/8/layout/vList2"/>
    <dgm:cxn modelId="{C7F7D891-82F3-405A-B790-346B6ECF3DF0}" type="presParOf" srcId="{9BCD32D9-3AE7-4305-AC5E-0E77194B0F2C}" destId="{A43785CE-46B5-44BB-A91F-4C56BDE702E3}" srcOrd="1" destOrd="0" presId="urn:microsoft.com/office/officeart/2005/8/layout/vList2"/>
    <dgm:cxn modelId="{5F8FE415-C3B7-4740-BE2F-27067E0EDA5F}" type="presParOf" srcId="{9BCD32D9-3AE7-4305-AC5E-0E77194B0F2C}" destId="{4A7C77B9-2015-46EC-AE8E-5C6CE5EC760B}" srcOrd="2" destOrd="0" presId="urn:microsoft.com/office/officeart/2005/8/layout/vList2"/>
    <dgm:cxn modelId="{4A90BBC0-06DB-488B-80BE-66637C5484C9}" type="presParOf" srcId="{9BCD32D9-3AE7-4305-AC5E-0E77194B0F2C}" destId="{BCEDD40F-B000-4F99-8B59-84B5689494FB}" srcOrd="3" destOrd="0" presId="urn:microsoft.com/office/officeart/2005/8/layout/vList2"/>
    <dgm:cxn modelId="{A3E75592-B85E-4CAF-96B6-DCB39E6EBDB3}" type="presParOf" srcId="{9BCD32D9-3AE7-4305-AC5E-0E77194B0F2C}" destId="{584F3C90-7C68-4C6B-A49A-D8991FE0E732}" srcOrd="4" destOrd="0" presId="urn:microsoft.com/office/officeart/2005/8/layout/vList2"/>
    <dgm:cxn modelId="{C4E3084B-1220-40FA-BD59-C54F9BB60A5B}" type="presParOf" srcId="{9BCD32D9-3AE7-4305-AC5E-0E77194B0F2C}" destId="{E57EF1F7-E361-48D9-8A86-E88FF253FA34}" srcOrd="5" destOrd="0" presId="urn:microsoft.com/office/officeart/2005/8/layout/vList2"/>
    <dgm:cxn modelId="{9E70C10D-4C0C-46A8-93EC-1A3C0F23D698}" type="presParOf" srcId="{9BCD32D9-3AE7-4305-AC5E-0E77194B0F2C}" destId="{6E47B004-2D7F-4852-9C58-AD6957926EB3}" srcOrd="6" destOrd="0" presId="urn:microsoft.com/office/officeart/2005/8/layout/vList2"/>
    <dgm:cxn modelId="{AEF85D60-97AE-4264-81DE-5D9EF6E178AD}" type="presParOf" srcId="{9BCD32D9-3AE7-4305-AC5E-0E77194B0F2C}" destId="{4BF8431A-7DA0-42D9-9E6F-9F82B2FC344B}" srcOrd="7" destOrd="0" presId="urn:microsoft.com/office/officeart/2005/8/layout/vList2"/>
    <dgm:cxn modelId="{5F92E0C6-CF71-479D-A744-BF361A3BA2D5}" type="presParOf" srcId="{9BCD32D9-3AE7-4305-AC5E-0E77194B0F2C}" destId="{14BFC39C-F540-434A-B663-DEDA45735C64}" srcOrd="8" destOrd="0" presId="urn:microsoft.com/office/officeart/2005/8/layout/vList2"/>
    <dgm:cxn modelId="{87701845-1016-4504-8FF6-4722205BAD43}" type="presParOf" srcId="{9BCD32D9-3AE7-4305-AC5E-0E77194B0F2C}" destId="{51E29154-5038-4FBE-90CE-0D6E35394676}" srcOrd="9" destOrd="0" presId="urn:microsoft.com/office/officeart/2005/8/layout/vList2"/>
    <dgm:cxn modelId="{5EFAA11D-50CE-404D-BEDC-0519BD97A7D3}" type="presParOf" srcId="{9BCD32D9-3AE7-4305-AC5E-0E77194B0F2C}" destId="{5C24F798-63E8-4F2D-A6C9-D9791365492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0134DB-D599-4262-BD2D-F97CFA72D93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760C7535-977A-415D-886A-4E77CB46D9D2}">
      <dgm:prSet custT="1"/>
      <dgm:spPr/>
      <dgm:t>
        <a:bodyPr/>
        <a:lstStyle/>
        <a:p>
          <a:r>
            <a:rPr lang="en-US" sz="2400" baseline="0" dirty="0"/>
            <a:t>Begins with the BEGIN TRANSACTION statement</a:t>
          </a:r>
          <a:endParaRPr lang="en-US" sz="24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0EA93F27-A1EE-43D2-AA06-D3DBA8F25F83}">
      <dgm:prSet custT="1"/>
      <dgm:spPr/>
      <dgm:t>
        <a:bodyPr/>
        <a:lstStyle/>
        <a:p>
          <a:r>
            <a:rPr lang="en-US" sz="2400" baseline="0" dirty="0"/>
            <a:t>Transaction can be started with a mark</a:t>
          </a:r>
          <a:endParaRPr lang="en-US" sz="2400" dirty="0"/>
        </a:p>
      </dgm:t>
    </dgm:pt>
    <dgm:pt modelId="{4D650011-F2BF-499A-AD37-9B469DB60E67}" type="parTrans" cxnId="{6E000C58-AE7A-4740-9577-C5105464E36D}">
      <dgm:prSet/>
      <dgm:spPr/>
      <dgm:t>
        <a:bodyPr/>
        <a:lstStyle/>
        <a:p>
          <a:endParaRPr lang="en-US" sz="1800"/>
        </a:p>
      </dgm:t>
    </dgm:pt>
    <dgm:pt modelId="{EF43B501-732E-413C-889D-31C4DA07D4E8}" type="sibTrans" cxnId="{6E000C58-AE7A-4740-9577-C5105464E36D}">
      <dgm:prSet/>
      <dgm:spPr/>
      <dgm:t>
        <a:bodyPr/>
        <a:lstStyle/>
        <a:p>
          <a:endParaRPr lang="en-US" sz="1800"/>
        </a:p>
      </dgm:t>
    </dgm:pt>
    <dgm:pt modelId="{2FAF74C7-A9A4-47D2-B0FD-1C986A6882A8}">
      <dgm:prSet custT="1"/>
      <dgm:spPr/>
      <dgm:t>
        <a:bodyPr/>
        <a:lstStyle/>
        <a:p>
          <a:r>
            <a:rPr lang="en-US" sz="2400" baseline="0" dirty="0"/>
            <a:t>Can have one or more statements</a:t>
          </a:r>
          <a:endParaRPr lang="en-US" sz="2400" dirty="0"/>
        </a:p>
      </dgm:t>
    </dgm:pt>
    <dgm:pt modelId="{5CC696F8-6CE2-4C1F-8B4A-9C2D1A944EA5}" type="parTrans" cxnId="{243320DA-AAAE-4ED4-B82B-596FE436E3A3}">
      <dgm:prSet/>
      <dgm:spPr/>
      <dgm:t>
        <a:bodyPr/>
        <a:lstStyle/>
        <a:p>
          <a:endParaRPr lang="en-US" sz="1800"/>
        </a:p>
      </dgm:t>
    </dgm:pt>
    <dgm:pt modelId="{60F36800-28F6-49EE-9C43-1514AFF3576C}" type="sibTrans" cxnId="{243320DA-AAAE-4ED4-B82B-596FE436E3A3}">
      <dgm:prSet/>
      <dgm:spPr/>
      <dgm:t>
        <a:bodyPr/>
        <a:lstStyle/>
        <a:p>
          <a:endParaRPr lang="en-US" sz="1800"/>
        </a:p>
      </dgm:t>
    </dgm:pt>
    <dgm:pt modelId="{D86CCC79-ED7A-4536-95CD-9C5078A9D009}">
      <dgm:prSet custT="1"/>
      <dgm:spPr/>
      <dgm:t>
        <a:bodyPr/>
        <a:lstStyle/>
        <a:p>
          <a:r>
            <a:rPr lang="en-US" sz="2400" baseline="0" dirty="0"/>
            <a:t>Need to explicitly commit or rollback the transaction </a:t>
          </a:r>
          <a:endParaRPr lang="en-US" sz="24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1800" baseline="0"/>
            <a:t>using COMMIT TRANSACTION or ROLLBACK TRANSACTION</a:t>
          </a:r>
          <a:endParaRPr lang="en-US" sz="1800" dirty="0"/>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400" baseline="0" dirty="0"/>
            <a:t>Can also use </a:t>
          </a:r>
          <a:endParaRPr lang="en-US" sz="24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1800" baseline="0"/>
            <a:t>SAVE TRANSACTION &lt;savepoint_name&gt;– to rollback a transaction to named Point</a:t>
          </a:r>
          <a:endParaRPr lang="en-US" sz="1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1800" b="0" i="0"/>
            <a:t>BEGIN TRANSACTION &lt;transaction_name&gt;</a:t>
          </a:r>
          <a:r>
            <a:rPr lang="en-US" sz="1800" baseline="0"/>
            <a:t>WITH MARK [ '</a:t>
          </a:r>
          <a:r>
            <a:rPr lang="en-US" sz="1800" i="1" baseline="0"/>
            <a:t>description</a:t>
          </a:r>
          <a:r>
            <a:rPr lang="en-US" sz="1800" baseline="0"/>
            <a:t>’ ] – to specify transaction marked in log</a:t>
          </a:r>
          <a:endParaRPr lang="en-US" sz="1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3182EF57-6B8F-4254-8848-20DD31BC40CC}" type="pres">
      <dgm:prSet presAssocID="{350134DB-D599-4262-BD2D-F97CFA72D934}" presName="linear" presStyleCnt="0">
        <dgm:presLayoutVars>
          <dgm:dir/>
          <dgm:animLvl val="lvl"/>
          <dgm:resizeHandles val="exact"/>
        </dgm:presLayoutVars>
      </dgm:prSet>
      <dgm:spPr/>
    </dgm:pt>
    <dgm:pt modelId="{8745125D-8428-4654-A2D5-B92A5F286FC2}" type="pres">
      <dgm:prSet presAssocID="{760C7535-977A-415D-886A-4E77CB46D9D2}" presName="parentLin" presStyleCnt="0"/>
      <dgm:spPr/>
    </dgm:pt>
    <dgm:pt modelId="{AEDBCDAF-ABBD-4225-AAF9-DABEFC54DB2F}" type="pres">
      <dgm:prSet presAssocID="{760C7535-977A-415D-886A-4E77CB46D9D2}" presName="parentLeftMargin" presStyleLbl="node1" presStyleIdx="0" presStyleCnt="5"/>
      <dgm:spPr/>
    </dgm:pt>
    <dgm:pt modelId="{435C1884-33DF-4460-9F8D-42B9A0E45C52}" type="pres">
      <dgm:prSet presAssocID="{760C7535-977A-415D-886A-4E77CB46D9D2}" presName="parentText" presStyleLbl="node1" presStyleIdx="0" presStyleCnt="5" custScaleX="137918">
        <dgm:presLayoutVars>
          <dgm:chMax val="0"/>
          <dgm:bulletEnabled val="1"/>
        </dgm:presLayoutVars>
      </dgm:prSet>
      <dgm:spPr/>
    </dgm:pt>
    <dgm:pt modelId="{879575BB-AFF7-4F3C-9BB7-B985267A4756}" type="pres">
      <dgm:prSet presAssocID="{760C7535-977A-415D-886A-4E77CB46D9D2}" presName="negativeSpace" presStyleCnt="0"/>
      <dgm:spPr/>
    </dgm:pt>
    <dgm:pt modelId="{7CCB23A6-4BA1-484E-B949-B0ACCF15C5DD}" type="pres">
      <dgm:prSet presAssocID="{760C7535-977A-415D-886A-4E77CB46D9D2}" presName="childText" presStyleLbl="conFgAcc1" presStyleIdx="0" presStyleCnt="5">
        <dgm:presLayoutVars>
          <dgm:bulletEnabled val="1"/>
        </dgm:presLayoutVars>
      </dgm:prSet>
      <dgm:spPr/>
    </dgm:pt>
    <dgm:pt modelId="{F3A669A2-5616-4C9E-8989-3963C5F9A9ED}" type="pres">
      <dgm:prSet presAssocID="{4DDE4A65-BEE5-40C8-9AA2-A20E31491AE9}" presName="spaceBetweenRectangles" presStyleCnt="0"/>
      <dgm:spPr/>
    </dgm:pt>
    <dgm:pt modelId="{110B5E68-320A-415F-9609-7E39C4754485}" type="pres">
      <dgm:prSet presAssocID="{0EA93F27-A1EE-43D2-AA06-D3DBA8F25F83}" presName="parentLin" presStyleCnt="0"/>
      <dgm:spPr/>
    </dgm:pt>
    <dgm:pt modelId="{CA5DF8FF-93FC-4E1C-84C9-DCC3A5286CCD}" type="pres">
      <dgm:prSet presAssocID="{0EA93F27-A1EE-43D2-AA06-D3DBA8F25F83}" presName="parentLeftMargin" presStyleLbl="node1" presStyleIdx="0" presStyleCnt="5"/>
      <dgm:spPr/>
    </dgm:pt>
    <dgm:pt modelId="{048F9B72-EA67-4290-B3AF-3AF59E51B109}" type="pres">
      <dgm:prSet presAssocID="{0EA93F27-A1EE-43D2-AA06-D3DBA8F25F83}" presName="parentText" presStyleLbl="node1" presStyleIdx="1" presStyleCnt="5" custScaleX="142857">
        <dgm:presLayoutVars>
          <dgm:chMax val="0"/>
          <dgm:bulletEnabled val="1"/>
        </dgm:presLayoutVars>
      </dgm:prSet>
      <dgm:spPr/>
    </dgm:pt>
    <dgm:pt modelId="{E7F187DA-A8A6-46A8-90AD-FFDA045C6B10}" type="pres">
      <dgm:prSet presAssocID="{0EA93F27-A1EE-43D2-AA06-D3DBA8F25F83}" presName="negativeSpace" presStyleCnt="0"/>
      <dgm:spPr/>
    </dgm:pt>
    <dgm:pt modelId="{1EF07366-0B18-44AC-B7AC-08FAB19B5C62}" type="pres">
      <dgm:prSet presAssocID="{0EA93F27-A1EE-43D2-AA06-D3DBA8F25F83}" presName="childText" presStyleLbl="conFgAcc1" presStyleIdx="1" presStyleCnt="5">
        <dgm:presLayoutVars>
          <dgm:bulletEnabled val="1"/>
        </dgm:presLayoutVars>
      </dgm:prSet>
      <dgm:spPr/>
    </dgm:pt>
    <dgm:pt modelId="{5D4D785C-A858-4D0E-809D-8756B67B86A4}" type="pres">
      <dgm:prSet presAssocID="{EF43B501-732E-413C-889D-31C4DA07D4E8}" presName="spaceBetweenRectangles" presStyleCnt="0"/>
      <dgm:spPr/>
    </dgm:pt>
    <dgm:pt modelId="{86364582-1B7C-456A-84FD-9872C812A26B}" type="pres">
      <dgm:prSet presAssocID="{2FAF74C7-A9A4-47D2-B0FD-1C986A6882A8}" presName="parentLin" presStyleCnt="0"/>
      <dgm:spPr/>
    </dgm:pt>
    <dgm:pt modelId="{D42319DD-43B5-4577-8FBD-3007A338D862}" type="pres">
      <dgm:prSet presAssocID="{2FAF74C7-A9A4-47D2-B0FD-1C986A6882A8}" presName="parentLeftMargin" presStyleLbl="node1" presStyleIdx="1" presStyleCnt="5"/>
      <dgm:spPr/>
    </dgm:pt>
    <dgm:pt modelId="{D42AC7AE-B20D-4E2B-9EF0-1D48D8AEDC2F}" type="pres">
      <dgm:prSet presAssocID="{2FAF74C7-A9A4-47D2-B0FD-1C986A6882A8}" presName="parentText" presStyleLbl="node1" presStyleIdx="2" presStyleCnt="5" custScaleX="141431">
        <dgm:presLayoutVars>
          <dgm:chMax val="0"/>
          <dgm:bulletEnabled val="1"/>
        </dgm:presLayoutVars>
      </dgm:prSet>
      <dgm:spPr/>
    </dgm:pt>
    <dgm:pt modelId="{0318CA2C-2F2A-48B9-9F9E-3626EB0318B9}" type="pres">
      <dgm:prSet presAssocID="{2FAF74C7-A9A4-47D2-B0FD-1C986A6882A8}" presName="negativeSpace" presStyleCnt="0"/>
      <dgm:spPr/>
    </dgm:pt>
    <dgm:pt modelId="{934B6BF0-02BA-4C9C-BFF8-A6A69FD63CAC}" type="pres">
      <dgm:prSet presAssocID="{2FAF74C7-A9A4-47D2-B0FD-1C986A6882A8}" presName="childText" presStyleLbl="conFgAcc1" presStyleIdx="2" presStyleCnt="5">
        <dgm:presLayoutVars>
          <dgm:bulletEnabled val="1"/>
        </dgm:presLayoutVars>
      </dgm:prSet>
      <dgm:spPr/>
    </dgm:pt>
    <dgm:pt modelId="{EBCF28E9-5A02-4706-B923-19049BECE732}" type="pres">
      <dgm:prSet presAssocID="{60F36800-28F6-49EE-9C43-1514AFF3576C}" presName="spaceBetweenRectangles" presStyleCnt="0"/>
      <dgm:spPr/>
    </dgm:pt>
    <dgm:pt modelId="{46C0C66D-6D9C-49DC-BAC7-B91392B4A1C7}" type="pres">
      <dgm:prSet presAssocID="{D86CCC79-ED7A-4536-95CD-9C5078A9D009}" presName="parentLin" presStyleCnt="0"/>
      <dgm:spPr/>
    </dgm:pt>
    <dgm:pt modelId="{4A164C60-3539-4FFB-B5A2-050BE784A231}" type="pres">
      <dgm:prSet presAssocID="{D86CCC79-ED7A-4536-95CD-9C5078A9D009}" presName="parentLeftMargin" presStyleLbl="node1" presStyleIdx="2" presStyleCnt="5"/>
      <dgm:spPr/>
    </dgm:pt>
    <dgm:pt modelId="{2CF3F87D-8AB4-4A86-8A38-7E38B9255551}" type="pres">
      <dgm:prSet presAssocID="{D86CCC79-ED7A-4536-95CD-9C5078A9D009}" presName="parentText" presStyleLbl="node1" presStyleIdx="3" presStyleCnt="5" custScaleX="138111">
        <dgm:presLayoutVars>
          <dgm:chMax val="0"/>
          <dgm:bulletEnabled val="1"/>
        </dgm:presLayoutVars>
      </dgm:prSet>
      <dgm:spPr/>
    </dgm:pt>
    <dgm:pt modelId="{4D43A9FC-BC52-4325-A713-86B0943632DB}" type="pres">
      <dgm:prSet presAssocID="{D86CCC79-ED7A-4536-95CD-9C5078A9D009}" presName="negativeSpace" presStyleCnt="0"/>
      <dgm:spPr/>
    </dgm:pt>
    <dgm:pt modelId="{60F9DB79-16DB-4146-9F5D-AF2E8E1F4195}" type="pres">
      <dgm:prSet presAssocID="{D86CCC79-ED7A-4536-95CD-9C5078A9D009}" presName="childText" presStyleLbl="conFgAcc1" presStyleIdx="3" presStyleCnt="5">
        <dgm:presLayoutVars>
          <dgm:bulletEnabled val="1"/>
        </dgm:presLayoutVars>
      </dgm:prSet>
      <dgm:spPr/>
    </dgm:pt>
    <dgm:pt modelId="{0BCA1876-2306-4161-8F70-67A3AFD01FDE}" type="pres">
      <dgm:prSet presAssocID="{7BA9AEFD-5AF1-4BCA-94CA-CF74B5B28D25}" presName="spaceBetweenRectangles" presStyleCnt="0"/>
      <dgm:spPr/>
    </dgm:pt>
    <dgm:pt modelId="{A83DE22E-5904-448D-8C08-689F5353A3FB}" type="pres">
      <dgm:prSet presAssocID="{6EC0B269-D52B-4FDE-B9B9-C23199573D6B}" presName="parentLin" presStyleCnt="0"/>
      <dgm:spPr/>
    </dgm:pt>
    <dgm:pt modelId="{13479BE4-3F68-4D19-822C-FCAA9AD3554A}" type="pres">
      <dgm:prSet presAssocID="{6EC0B269-D52B-4FDE-B9B9-C23199573D6B}" presName="parentLeftMargin" presStyleLbl="node1" presStyleIdx="3" presStyleCnt="5"/>
      <dgm:spPr/>
    </dgm:pt>
    <dgm:pt modelId="{840C7312-A838-404A-AE28-35E28197F07D}" type="pres">
      <dgm:prSet presAssocID="{6EC0B269-D52B-4FDE-B9B9-C23199573D6B}" presName="parentText" presStyleLbl="node1" presStyleIdx="4" presStyleCnt="5" custScaleX="142857">
        <dgm:presLayoutVars>
          <dgm:chMax val="0"/>
          <dgm:bulletEnabled val="1"/>
        </dgm:presLayoutVars>
      </dgm:prSet>
      <dgm:spPr/>
    </dgm:pt>
    <dgm:pt modelId="{F55FF658-1A1C-4F75-8F7A-4FF6900B068E}" type="pres">
      <dgm:prSet presAssocID="{6EC0B269-D52B-4FDE-B9B9-C23199573D6B}" presName="negativeSpace" presStyleCnt="0"/>
      <dgm:spPr/>
    </dgm:pt>
    <dgm:pt modelId="{E132D200-DFFC-4D33-8DFA-5440B5DEB493}" type="pres">
      <dgm:prSet presAssocID="{6EC0B269-D52B-4FDE-B9B9-C23199573D6B}" presName="childText" presStyleLbl="conFgAcc1" presStyleIdx="4" presStyleCnt="5">
        <dgm:presLayoutVars>
          <dgm:bulletEnabled val="1"/>
        </dgm:presLayoutVars>
      </dgm:prSet>
      <dgm:spPr/>
    </dgm:pt>
  </dgm:ptLst>
  <dgm:cxnLst>
    <dgm:cxn modelId="{F455D617-7022-4C91-97EF-17BE0FA9A6E1}" type="presOf" srcId="{D8669AA7-A64C-41FE-9953-28D852B55AF6}" destId="{E132D200-DFFC-4D33-8DFA-5440B5DEB493}" srcOrd="0" destOrd="0" presId="urn:microsoft.com/office/officeart/2005/8/layout/list1"/>
    <dgm:cxn modelId="{D1917829-5249-4400-A92D-F062FC4D46D9}" type="presOf" srcId="{2FAF74C7-A9A4-47D2-B0FD-1C986A6882A8}" destId="{D42AC7AE-B20D-4E2B-9EF0-1D48D8AEDC2F}" srcOrd="1" destOrd="0" presId="urn:microsoft.com/office/officeart/2005/8/layout/list1"/>
    <dgm:cxn modelId="{F2F37C3B-0A02-4B5B-A0BF-AB3E07CF95AF}" type="presOf" srcId="{A438C6ED-52AA-44FE-B341-6E8A4E74F989}" destId="{E132D200-DFFC-4D33-8DFA-5440B5DEB493}" srcOrd="0" destOrd="1" presId="urn:microsoft.com/office/officeart/2005/8/layout/list1"/>
    <dgm:cxn modelId="{4A94BB5C-F636-4581-B0FD-2AB4C9203978}" srcId="{350134DB-D599-4262-BD2D-F97CFA72D934}" destId="{6EC0B269-D52B-4FDE-B9B9-C23199573D6B}" srcOrd="4" destOrd="0" parTransId="{69C10E6D-E95E-4F7E-9658-9FE86E08FB4D}" sibTransId="{E1F6EE28-35D8-4754-9DD6-1A5C4D14E679}"/>
    <dgm:cxn modelId="{0858055D-69FB-4180-9E64-1C0B68B8F86F}" type="presOf" srcId="{D86CCC79-ED7A-4536-95CD-9C5078A9D009}" destId="{2CF3F87D-8AB4-4A86-8A38-7E38B9255551}" srcOrd="1" destOrd="0" presId="urn:microsoft.com/office/officeart/2005/8/layout/list1"/>
    <dgm:cxn modelId="{64905F49-FDCE-4DC5-8C32-70E7C6E85976}" type="presOf" srcId="{0EA93F27-A1EE-43D2-AA06-D3DBA8F25F83}" destId="{CA5DF8FF-93FC-4E1C-84C9-DCC3A5286CCD}" srcOrd="0" destOrd="0" presId="urn:microsoft.com/office/officeart/2005/8/layout/list1"/>
    <dgm:cxn modelId="{6E000C58-AE7A-4740-9577-C5105464E36D}" srcId="{350134DB-D599-4262-BD2D-F97CFA72D934}" destId="{0EA93F27-A1EE-43D2-AA06-D3DBA8F25F83}" srcOrd="1" destOrd="0" parTransId="{4D650011-F2BF-499A-AD37-9B469DB60E67}" sibTransId="{EF43B501-732E-413C-889D-31C4DA07D4E8}"/>
    <dgm:cxn modelId="{07D27487-CD28-4699-AA7B-A56AFE61BCF5}" type="presOf" srcId="{760C7535-977A-415D-886A-4E77CB46D9D2}" destId="{AEDBCDAF-ABBD-4225-AAF9-DABEFC54DB2F}" srcOrd="0" destOrd="0" presId="urn:microsoft.com/office/officeart/2005/8/layout/list1"/>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EB8A2F9D-1F82-4908-A8E4-F5900C5EC891}" type="presOf" srcId="{2FAF74C7-A9A4-47D2-B0FD-1C986A6882A8}" destId="{D42319DD-43B5-4577-8FBD-3007A338D862}" srcOrd="0" destOrd="0" presId="urn:microsoft.com/office/officeart/2005/8/layout/list1"/>
    <dgm:cxn modelId="{E0D777B5-163A-4DCA-ACCE-CBE58036CCE2}" srcId="{D86CCC79-ED7A-4536-95CD-9C5078A9D009}" destId="{B81F23C3-25DB-4974-820A-6D0FD11AA7AA}" srcOrd="0" destOrd="0" parTransId="{B0C801D7-4614-4BA7-ABD5-BAF63163178A}" sibTransId="{87519E01-D4C1-4E5E-AC1C-6A32E17D6694}"/>
    <dgm:cxn modelId="{5381D3C6-EF4B-430B-8733-B15F12ADB5C4}" type="presOf" srcId="{350134DB-D599-4262-BD2D-F97CFA72D934}" destId="{3182EF57-6B8F-4254-8848-20DD31BC40CC}" srcOrd="0" destOrd="0" presId="urn:microsoft.com/office/officeart/2005/8/layout/list1"/>
    <dgm:cxn modelId="{243320DA-AAAE-4ED4-B82B-596FE436E3A3}" srcId="{350134DB-D599-4262-BD2D-F97CFA72D934}" destId="{2FAF74C7-A9A4-47D2-B0FD-1C986A6882A8}" srcOrd="2" destOrd="0" parTransId="{5CC696F8-6CE2-4C1F-8B4A-9C2D1A944EA5}" sibTransId="{60F36800-28F6-49EE-9C43-1514AFF3576C}"/>
    <dgm:cxn modelId="{537F87DC-AC32-441C-BF07-2DEF1DC486CB}" type="presOf" srcId="{760C7535-977A-415D-886A-4E77CB46D9D2}" destId="{435C1884-33DF-4460-9F8D-42B9A0E45C52}" srcOrd="1" destOrd="0" presId="urn:microsoft.com/office/officeart/2005/8/layout/list1"/>
    <dgm:cxn modelId="{9DD380E1-70B4-465E-9C13-4E862E2D3CD4}" type="presOf" srcId="{6EC0B269-D52B-4FDE-B9B9-C23199573D6B}" destId="{13479BE4-3F68-4D19-822C-FCAA9AD3554A}" srcOrd="0" destOrd="0" presId="urn:microsoft.com/office/officeart/2005/8/layout/list1"/>
    <dgm:cxn modelId="{B6B898F0-A442-49AC-A21C-C69F1ABB22F1}" type="presOf" srcId="{B81F23C3-25DB-4974-820A-6D0FD11AA7AA}" destId="{60F9DB79-16DB-4146-9F5D-AF2E8E1F4195}" srcOrd="0" destOrd="0" presId="urn:microsoft.com/office/officeart/2005/8/layout/list1"/>
    <dgm:cxn modelId="{3186AFF3-4581-4F7C-92BB-A37EADC143EC}" type="presOf" srcId="{6EC0B269-D52B-4FDE-B9B9-C23199573D6B}" destId="{840C7312-A838-404A-AE28-35E28197F07D}" srcOrd="1" destOrd="0" presId="urn:microsoft.com/office/officeart/2005/8/layout/list1"/>
    <dgm:cxn modelId="{975CCDF5-16E2-48E7-959F-1E9DFFFDBCFC}" type="presOf" srcId="{0EA93F27-A1EE-43D2-AA06-D3DBA8F25F83}" destId="{048F9B72-EA67-4290-B3AF-3AF59E51B109}" srcOrd="1" destOrd="0" presId="urn:microsoft.com/office/officeart/2005/8/layout/list1"/>
    <dgm:cxn modelId="{C60064FC-D4FB-4349-A293-1221792824FD}" srcId="{350134DB-D599-4262-BD2D-F97CFA72D934}" destId="{D86CCC79-ED7A-4536-95CD-9C5078A9D009}" srcOrd="3" destOrd="0" parTransId="{11FBD961-CB42-4C1E-AC8D-6A962440212D}" sibTransId="{7BA9AEFD-5AF1-4BCA-94CA-CF74B5B28D25}"/>
    <dgm:cxn modelId="{3BAC97FE-1C7B-452B-9A64-635BE18990CD}" type="presOf" srcId="{D86CCC79-ED7A-4536-95CD-9C5078A9D009}" destId="{4A164C60-3539-4FFB-B5A2-050BE784A231}" srcOrd="0" destOrd="0" presId="urn:microsoft.com/office/officeart/2005/8/layout/list1"/>
    <dgm:cxn modelId="{40BB8BFF-CC29-40AA-9B75-A29EE1358C00}" srcId="{6EC0B269-D52B-4FDE-B9B9-C23199573D6B}" destId="{D8669AA7-A64C-41FE-9953-28D852B55AF6}" srcOrd="0" destOrd="0" parTransId="{18F2FEB6-54DB-4EC5-A084-8F779E682858}" sibTransId="{F79DF18C-E709-4CF1-B1F6-DF6C48799AC8}"/>
    <dgm:cxn modelId="{F28E942A-9870-42A6-893C-A2850A9B9F62}" type="presParOf" srcId="{3182EF57-6B8F-4254-8848-20DD31BC40CC}" destId="{8745125D-8428-4654-A2D5-B92A5F286FC2}" srcOrd="0" destOrd="0" presId="urn:microsoft.com/office/officeart/2005/8/layout/list1"/>
    <dgm:cxn modelId="{1E2871E0-07E5-4006-99E1-14763BA7426F}" type="presParOf" srcId="{8745125D-8428-4654-A2D5-B92A5F286FC2}" destId="{AEDBCDAF-ABBD-4225-AAF9-DABEFC54DB2F}" srcOrd="0" destOrd="0" presId="urn:microsoft.com/office/officeart/2005/8/layout/list1"/>
    <dgm:cxn modelId="{B944B84F-75B0-4D5D-BC39-3E6071356DBC}" type="presParOf" srcId="{8745125D-8428-4654-A2D5-B92A5F286FC2}" destId="{435C1884-33DF-4460-9F8D-42B9A0E45C52}" srcOrd="1" destOrd="0" presId="urn:microsoft.com/office/officeart/2005/8/layout/list1"/>
    <dgm:cxn modelId="{431469C1-2975-43B1-946C-5D6CEFCEEE12}" type="presParOf" srcId="{3182EF57-6B8F-4254-8848-20DD31BC40CC}" destId="{879575BB-AFF7-4F3C-9BB7-B985267A4756}" srcOrd="1" destOrd="0" presId="urn:microsoft.com/office/officeart/2005/8/layout/list1"/>
    <dgm:cxn modelId="{E3242860-C9E1-45BF-9547-6BC7BB73AD11}" type="presParOf" srcId="{3182EF57-6B8F-4254-8848-20DD31BC40CC}" destId="{7CCB23A6-4BA1-484E-B949-B0ACCF15C5DD}" srcOrd="2" destOrd="0" presId="urn:microsoft.com/office/officeart/2005/8/layout/list1"/>
    <dgm:cxn modelId="{7005776E-0DE7-4095-98E6-7BD2B1C8B9CC}" type="presParOf" srcId="{3182EF57-6B8F-4254-8848-20DD31BC40CC}" destId="{F3A669A2-5616-4C9E-8989-3963C5F9A9ED}" srcOrd="3" destOrd="0" presId="urn:microsoft.com/office/officeart/2005/8/layout/list1"/>
    <dgm:cxn modelId="{15ADFE69-318B-4BA8-AAA6-EED67238526F}" type="presParOf" srcId="{3182EF57-6B8F-4254-8848-20DD31BC40CC}" destId="{110B5E68-320A-415F-9609-7E39C4754485}" srcOrd="4" destOrd="0" presId="urn:microsoft.com/office/officeart/2005/8/layout/list1"/>
    <dgm:cxn modelId="{D2823364-A7AA-4E82-BCE2-64D093AB60F3}" type="presParOf" srcId="{110B5E68-320A-415F-9609-7E39C4754485}" destId="{CA5DF8FF-93FC-4E1C-84C9-DCC3A5286CCD}" srcOrd="0" destOrd="0" presId="urn:microsoft.com/office/officeart/2005/8/layout/list1"/>
    <dgm:cxn modelId="{7989099D-3B09-46AD-909B-DD2A42E62AF3}" type="presParOf" srcId="{110B5E68-320A-415F-9609-7E39C4754485}" destId="{048F9B72-EA67-4290-B3AF-3AF59E51B109}" srcOrd="1" destOrd="0" presId="urn:microsoft.com/office/officeart/2005/8/layout/list1"/>
    <dgm:cxn modelId="{C24FBC85-CC19-4E6B-A799-85F6D72EF61A}" type="presParOf" srcId="{3182EF57-6B8F-4254-8848-20DD31BC40CC}" destId="{E7F187DA-A8A6-46A8-90AD-FFDA045C6B10}" srcOrd="5" destOrd="0" presId="urn:microsoft.com/office/officeart/2005/8/layout/list1"/>
    <dgm:cxn modelId="{988D8736-5AB3-42DF-A40F-BD8B76D09E97}" type="presParOf" srcId="{3182EF57-6B8F-4254-8848-20DD31BC40CC}" destId="{1EF07366-0B18-44AC-B7AC-08FAB19B5C62}" srcOrd="6" destOrd="0" presId="urn:microsoft.com/office/officeart/2005/8/layout/list1"/>
    <dgm:cxn modelId="{348A4A4B-0EE4-47E6-A4A2-37C72EB14D37}" type="presParOf" srcId="{3182EF57-6B8F-4254-8848-20DD31BC40CC}" destId="{5D4D785C-A858-4D0E-809D-8756B67B86A4}" srcOrd="7" destOrd="0" presId="urn:microsoft.com/office/officeart/2005/8/layout/list1"/>
    <dgm:cxn modelId="{572A166C-1050-4885-8C40-D7610681DACD}" type="presParOf" srcId="{3182EF57-6B8F-4254-8848-20DD31BC40CC}" destId="{86364582-1B7C-456A-84FD-9872C812A26B}" srcOrd="8" destOrd="0" presId="urn:microsoft.com/office/officeart/2005/8/layout/list1"/>
    <dgm:cxn modelId="{0B6E9179-5C29-4D64-A0F5-E44156A0FC12}" type="presParOf" srcId="{86364582-1B7C-456A-84FD-9872C812A26B}" destId="{D42319DD-43B5-4577-8FBD-3007A338D862}" srcOrd="0" destOrd="0" presId="urn:microsoft.com/office/officeart/2005/8/layout/list1"/>
    <dgm:cxn modelId="{27747346-79FD-4F72-A346-D03259F898C0}" type="presParOf" srcId="{86364582-1B7C-456A-84FD-9872C812A26B}" destId="{D42AC7AE-B20D-4E2B-9EF0-1D48D8AEDC2F}" srcOrd="1" destOrd="0" presId="urn:microsoft.com/office/officeart/2005/8/layout/list1"/>
    <dgm:cxn modelId="{B70C5487-33C8-428D-AA66-B7E7E18C28D8}" type="presParOf" srcId="{3182EF57-6B8F-4254-8848-20DD31BC40CC}" destId="{0318CA2C-2F2A-48B9-9F9E-3626EB0318B9}" srcOrd="9" destOrd="0" presId="urn:microsoft.com/office/officeart/2005/8/layout/list1"/>
    <dgm:cxn modelId="{184DAEFE-6329-4BA6-AC14-25BBAB6D3380}" type="presParOf" srcId="{3182EF57-6B8F-4254-8848-20DD31BC40CC}" destId="{934B6BF0-02BA-4C9C-BFF8-A6A69FD63CAC}" srcOrd="10" destOrd="0" presId="urn:microsoft.com/office/officeart/2005/8/layout/list1"/>
    <dgm:cxn modelId="{B15324A2-F6D2-4A11-AC97-0F980851EC0D}" type="presParOf" srcId="{3182EF57-6B8F-4254-8848-20DD31BC40CC}" destId="{EBCF28E9-5A02-4706-B923-19049BECE732}" srcOrd="11" destOrd="0" presId="urn:microsoft.com/office/officeart/2005/8/layout/list1"/>
    <dgm:cxn modelId="{29BB97BD-E065-4F58-A1A8-6E9CB76E9550}" type="presParOf" srcId="{3182EF57-6B8F-4254-8848-20DD31BC40CC}" destId="{46C0C66D-6D9C-49DC-BAC7-B91392B4A1C7}" srcOrd="12" destOrd="0" presId="urn:microsoft.com/office/officeart/2005/8/layout/list1"/>
    <dgm:cxn modelId="{B75197AD-6D8A-4C67-BC57-8B8D6997CFF6}" type="presParOf" srcId="{46C0C66D-6D9C-49DC-BAC7-B91392B4A1C7}" destId="{4A164C60-3539-4FFB-B5A2-050BE784A231}" srcOrd="0" destOrd="0" presId="urn:microsoft.com/office/officeart/2005/8/layout/list1"/>
    <dgm:cxn modelId="{5E511508-1DAC-409E-8881-B770A90946D8}" type="presParOf" srcId="{46C0C66D-6D9C-49DC-BAC7-B91392B4A1C7}" destId="{2CF3F87D-8AB4-4A86-8A38-7E38B9255551}" srcOrd="1" destOrd="0" presId="urn:microsoft.com/office/officeart/2005/8/layout/list1"/>
    <dgm:cxn modelId="{3F5EC78B-FC7B-4563-9FD2-97B5D3AAB481}" type="presParOf" srcId="{3182EF57-6B8F-4254-8848-20DD31BC40CC}" destId="{4D43A9FC-BC52-4325-A713-86B0943632DB}" srcOrd="13" destOrd="0" presId="urn:microsoft.com/office/officeart/2005/8/layout/list1"/>
    <dgm:cxn modelId="{0B59815E-1E68-4639-BEBE-5622CB4047CF}" type="presParOf" srcId="{3182EF57-6B8F-4254-8848-20DD31BC40CC}" destId="{60F9DB79-16DB-4146-9F5D-AF2E8E1F4195}" srcOrd="14" destOrd="0" presId="urn:microsoft.com/office/officeart/2005/8/layout/list1"/>
    <dgm:cxn modelId="{54D30F6E-58DD-4C99-94F1-012681B9C85B}" type="presParOf" srcId="{3182EF57-6B8F-4254-8848-20DD31BC40CC}" destId="{0BCA1876-2306-4161-8F70-67A3AFD01FDE}" srcOrd="15" destOrd="0" presId="urn:microsoft.com/office/officeart/2005/8/layout/list1"/>
    <dgm:cxn modelId="{35D9A1DB-7DA5-485A-B06E-513852D01601}" type="presParOf" srcId="{3182EF57-6B8F-4254-8848-20DD31BC40CC}" destId="{A83DE22E-5904-448D-8C08-689F5353A3FB}" srcOrd="16" destOrd="0" presId="urn:microsoft.com/office/officeart/2005/8/layout/list1"/>
    <dgm:cxn modelId="{A61DCE7F-7162-454B-8CEE-6C62F88A5521}" type="presParOf" srcId="{A83DE22E-5904-448D-8C08-689F5353A3FB}" destId="{13479BE4-3F68-4D19-822C-FCAA9AD3554A}" srcOrd="0" destOrd="0" presId="urn:microsoft.com/office/officeart/2005/8/layout/list1"/>
    <dgm:cxn modelId="{C292B858-B513-4D10-AF58-20CA73375EFF}" type="presParOf" srcId="{A83DE22E-5904-448D-8C08-689F5353A3FB}" destId="{840C7312-A838-404A-AE28-35E28197F07D}" srcOrd="1" destOrd="0" presId="urn:microsoft.com/office/officeart/2005/8/layout/list1"/>
    <dgm:cxn modelId="{FFCDB690-E01E-45D6-A9EE-8A2D41C4CD1B}" type="presParOf" srcId="{3182EF57-6B8F-4254-8848-20DD31BC40CC}" destId="{F55FF658-1A1C-4F75-8F7A-4FF6900B068E}" srcOrd="17" destOrd="0" presId="urn:microsoft.com/office/officeart/2005/8/layout/list1"/>
    <dgm:cxn modelId="{B9A982A1-A36C-47AA-B36D-CFAA5416E8A9}" type="presParOf" srcId="{3182EF57-6B8F-4254-8848-20DD31BC40CC}" destId="{E132D200-DFFC-4D33-8DFA-5440B5DEB493}"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370638-4624-43D8-8D21-CBC64B5ED47E}"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EF787262-255D-4799-B301-83C37B654617}">
      <dgm:prSet/>
      <dgm:spPr/>
      <dgm:t>
        <a:bodyPr/>
        <a:lstStyle/>
        <a:p>
          <a:r>
            <a:rPr lang="en-US" baseline="0" dirty="0"/>
            <a:t>Equivalent to an unseen BEGIN TRANSACTION being executed</a:t>
          </a:r>
          <a:endParaRPr lang="en-US" dirty="0"/>
        </a:p>
      </dgm:t>
    </dgm:pt>
    <dgm:pt modelId="{F996BF60-577F-4B36-8452-32FCA203E084}" type="parTrans" cxnId="{BA0E68F4-C90E-487C-B971-0253B7650601}">
      <dgm:prSet/>
      <dgm:spPr/>
      <dgm:t>
        <a:bodyPr/>
        <a:lstStyle/>
        <a:p>
          <a:endParaRPr lang="en-US"/>
        </a:p>
      </dgm:t>
    </dgm:pt>
    <dgm:pt modelId="{A87D1F9E-625E-40A9-8C94-B6AF0BC6B00B}" type="sibTrans" cxnId="{BA0E68F4-C90E-487C-B971-0253B7650601}">
      <dgm:prSet/>
      <dgm:spPr/>
      <dgm:t>
        <a:bodyPr/>
        <a:lstStyle/>
        <a:p>
          <a:endParaRPr lang="en-US"/>
        </a:p>
      </dgm:t>
    </dgm:pt>
    <dgm:pt modelId="{9492303F-92F9-49C8-A1AF-BA2012164AC3}">
      <dgm:prSet/>
      <dgm:spPr/>
      <dgm:t>
        <a:bodyPr/>
        <a:lstStyle/>
        <a:p>
          <a:r>
            <a:rPr lang="en-US" baseline="0" dirty="0"/>
            <a:t>Transaction starts automatically once first statement of a batch is received</a:t>
          </a:r>
          <a:endParaRPr lang="en-US" dirty="0"/>
        </a:p>
      </dgm:t>
    </dgm:pt>
    <dgm:pt modelId="{74478451-E68B-4BDD-AD99-719520E6A977}" type="parTrans" cxnId="{AAF1D4D0-F456-4CCF-9C39-ABDDABB2E026}">
      <dgm:prSet/>
      <dgm:spPr/>
      <dgm:t>
        <a:bodyPr/>
        <a:lstStyle/>
        <a:p>
          <a:endParaRPr lang="en-US"/>
        </a:p>
      </dgm:t>
    </dgm:pt>
    <dgm:pt modelId="{05482F50-0EDB-41D2-89F8-00DCF9928D85}" type="sibTrans" cxnId="{AAF1D4D0-F456-4CCF-9C39-ABDDABB2E026}">
      <dgm:prSet/>
      <dgm:spPr/>
      <dgm:t>
        <a:bodyPr/>
        <a:lstStyle/>
        <a:p>
          <a:endParaRPr lang="en-US"/>
        </a:p>
      </dgm:t>
    </dgm:pt>
    <dgm:pt modelId="{2D0E9C2D-8A18-4C90-8F52-0B8E8830034F}">
      <dgm:prSet/>
      <dgm:spPr/>
      <dgm:t>
        <a:bodyPr/>
        <a:lstStyle/>
        <a:p>
          <a:r>
            <a:rPr lang="en-US" baseline="0" dirty="0"/>
            <a:t>SET IMPLICIT_TRANSACTIONS ON used at statement level</a:t>
          </a:r>
          <a:endParaRPr lang="en-US" dirty="0"/>
        </a:p>
      </dgm:t>
    </dgm:pt>
    <dgm:pt modelId="{9B1FEF66-373C-4891-95EF-1CD989B59894}" type="parTrans" cxnId="{BEE5C46E-4638-41C1-9362-D9A5F7968989}">
      <dgm:prSet/>
      <dgm:spPr/>
      <dgm:t>
        <a:bodyPr/>
        <a:lstStyle/>
        <a:p>
          <a:endParaRPr lang="en-US"/>
        </a:p>
      </dgm:t>
    </dgm:pt>
    <dgm:pt modelId="{4BCD10EE-A6CD-4D05-868B-1C22E00345DA}" type="sibTrans" cxnId="{BEE5C46E-4638-41C1-9362-D9A5F7968989}">
      <dgm:prSet/>
      <dgm:spPr/>
      <dgm:t>
        <a:bodyPr/>
        <a:lstStyle/>
        <a:p>
          <a:endParaRPr lang="en-US"/>
        </a:p>
      </dgm:t>
    </dgm:pt>
    <dgm:pt modelId="{2997A99F-ADB2-4A15-A8D0-FA1ED0285108}">
      <dgm:prSet/>
      <dgm:spPr/>
      <dgm:t>
        <a:bodyPr/>
        <a:lstStyle/>
        <a:p>
          <a:r>
            <a:rPr lang="en-US" baseline="0" dirty="0"/>
            <a:t>Enabled at Server level by using </a:t>
          </a:r>
          <a:r>
            <a:rPr lang="fr-FR" baseline="0" dirty="0"/>
            <a:t>sp_configure 'user options’ , 2 </a:t>
          </a:r>
          <a:endParaRPr lang="en-US" dirty="0"/>
        </a:p>
      </dgm:t>
    </dgm:pt>
    <dgm:pt modelId="{387CB604-E7D3-4F5B-93A0-D5112AFBD75B}" type="parTrans" cxnId="{6507F877-C498-4D8C-B47D-88D46035C878}">
      <dgm:prSet/>
      <dgm:spPr/>
      <dgm:t>
        <a:bodyPr/>
        <a:lstStyle/>
        <a:p>
          <a:endParaRPr lang="en-US"/>
        </a:p>
      </dgm:t>
    </dgm:pt>
    <dgm:pt modelId="{7D96A7FD-6349-4EAB-8F9C-472C714D964B}" type="sibTrans" cxnId="{6507F877-C498-4D8C-B47D-88D46035C878}">
      <dgm:prSet/>
      <dgm:spPr/>
      <dgm:t>
        <a:bodyPr/>
        <a:lstStyle/>
        <a:p>
          <a:endParaRPr lang="en-US"/>
        </a:p>
      </dgm:t>
    </dgm:pt>
    <dgm:pt modelId="{BBAB068C-352A-481A-8E1A-0BA4F063EB93}">
      <dgm:prSet/>
      <dgm:spPr/>
      <dgm:t>
        <a:bodyPr/>
        <a:lstStyle/>
        <a:p>
          <a:r>
            <a:rPr lang="en-US" baseline="0" dirty="0"/>
            <a:t>It can be symptom of severe blocking issues on the server</a:t>
          </a:r>
          <a:endParaRPr lang="en-US" dirty="0"/>
        </a:p>
      </dgm:t>
    </dgm:pt>
    <dgm:pt modelId="{58C2A8B3-53E5-4756-8FE1-A4E02E1DEF04}" type="parTrans" cxnId="{C1EC2658-3098-4149-AFA8-FAC0C1A48BD4}">
      <dgm:prSet/>
      <dgm:spPr/>
      <dgm:t>
        <a:bodyPr/>
        <a:lstStyle/>
        <a:p>
          <a:endParaRPr lang="en-US"/>
        </a:p>
      </dgm:t>
    </dgm:pt>
    <dgm:pt modelId="{F972A952-9FCC-433A-B9C6-1FA79A7CE771}" type="sibTrans" cxnId="{C1EC2658-3098-4149-AFA8-FAC0C1A48BD4}">
      <dgm:prSet/>
      <dgm:spPr/>
      <dgm:t>
        <a:bodyPr/>
        <a:lstStyle/>
        <a:p>
          <a:endParaRPr lang="en-US"/>
        </a:p>
      </dgm:t>
    </dgm:pt>
    <dgm:pt modelId="{36802FC7-3BC6-4108-82B0-3FD58770FC18}">
      <dgm:prSet/>
      <dgm:spPr/>
      <dgm:t>
        <a:bodyPr/>
        <a:lstStyle/>
        <a:p>
          <a:r>
            <a:rPr lang="en-US" baseline="0" dirty="0"/>
            <a:t>Must use commit after SELECTs or DML, otherwise transaction remains open</a:t>
          </a:r>
          <a:endParaRPr lang="en-US" dirty="0"/>
        </a:p>
      </dgm:t>
    </dgm:pt>
    <dgm:pt modelId="{6EBB9CBA-AA36-4479-AFD4-91B83DEB1428}" type="parTrans" cxnId="{F7806B77-2D1D-4DFC-B264-3606C5BB60E2}">
      <dgm:prSet/>
      <dgm:spPr/>
      <dgm:t>
        <a:bodyPr/>
        <a:lstStyle/>
        <a:p>
          <a:endParaRPr lang="en-US"/>
        </a:p>
      </dgm:t>
    </dgm:pt>
    <dgm:pt modelId="{55796CB0-C7AC-4865-8D03-D6238D55AA6F}" type="sibTrans" cxnId="{F7806B77-2D1D-4DFC-B264-3606C5BB60E2}">
      <dgm:prSet/>
      <dgm:spPr/>
      <dgm:t>
        <a:bodyPr/>
        <a:lstStyle/>
        <a:p>
          <a:endParaRPr lang="en-US"/>
        </a:p>
      </dgm:t>
    </dgm:pt>
    <dgm:pt modelId="{E5491E8A-C162-49F9-B7B3-914239113846}" type="pres">
      <dgm:prSet presAssocID="{33370638-4624-43D8-8D21-CBC64B5ED47E}" presName="linear" presStyleCnt="0">
        <dgm:presLayoutVars>
          <dgm:animLvl val="lvl"/>
          <dgm:resizeHandles val="exact"/>
        </dgm:presLayoutVars>
      </dgm:prSet>
      <dgm:spPr/>
    </dgm:pt>
    <dgm:pt modelId="{514CB2C1-F30D-4AC7-A0F8-59EE7430C923}" type="pres">
      <dgm:prSet presAssocID="{EF787262-255D-4799-B301-83C37B654617}" presName="parentText" presStyleLbl="node1" presStyleIdx="0" presStyleCnt="6">
        <dgm:presLayoutVars>
          <dgm:chMax val="0"/>
          <dgm:bulletEnabled val="1"/>
        </dgm:presLayoutVars>
      </dgm:prSet>
      <dgm:spPr/>
    </dgm:pt>
    <dgm:pt modelId="{3FD99082-346E-4CB6-A25F-F0C7E8AB2059}" type="pres">
      <dgm:prSet presAssocID="{A87D1F9E-625E-40A9-8C94-B6AF0BC6B00B}" presName="spacer" presStyleCnt="0"/>
      <dgm:spPr/>
    </dgm:pt>
    <dgm:pt modelId="{FE7D1977-79B8-4B91-83C4-1F350233D3B8}" type="pres">
      <dgm:prSet presAssocID="{9492303F-92F9-49C8-A1AF-BA2012164AC3}" presName="parentText" presStyleLbl="node1" presStyleIdx="1" presStyleCnt="6">
        <dgm:presLayoutVars>
          <dgm:chMax val="0"/>
          <dgm:bulletEnabled val="1"/>
        </dgm:presLayoutVars>
      </dgm:prSet>
      <dgm:spPr/>
    </dgm:pt>
    <dgm:pt modelId="{D1527431-9DA4-4642-AC94-CB078B457560}" type="pres">
      <dgm:prSet presAssocID="{05482F50-0EDB-41D2-89F8-00DCF9928D85}" presName="spacer" presStyleCnt="0"/>
      <dgm:spPr/>
    </dgm:pt>
    <dgm:pt modelId="{38C3FDDB-E1F7-44A3-9212-CCCE69CD06CD}" type="pres">
      <dgm:prSet presAssocID="{2D0E9C2D-8A18-4C90-8F52-0B8E8830034F}" presName="parentText" presStyleLbl="node1" presStyleIdx="2" presStyleCnt="6">
        <dgm:presLayoutVars>
          <dgm:chMax val="0"/>
          <dgm:bulletEnabled val="1"/>
        </dgm:presLayoutVars>
      </dgm:prSet>
      <dgm:spPr/>
    </dgm:pt>
    <dgm:pt modelId="{13FCF0CA-FECF-4CAA-AED4-F03645484F7B}" type="pres">
      <dgm:prSet presAssocID="{4BCD10EE-A6CD-4D05-868B-1C22E00345DA}" presName="spacer" presStyleCnt="0"/>
      <dgm:spPr/>
    </dgm:pt>
    <dgm:pt modelId="{D6E98A84-729D-4C08-A88B-C8054F16ABD5}" type="pres">
      <dgm:prSet presAssocID="{2997A99F-ADB2-4A15-A8D0-FA1ED0285108}" presName="parentText" presStyleLbl="node1" presStyleIdx="3" presStyleCnt="6">
        <dgm:presLayoutVars>
          <dgm:chMax val="0"/>
          <dgm:bulletEnabled val="1"/>
        </dgm:presLayoutVars>
      </dgm:prSet>
      <dgm:spPr/>
    </dgm:pt>
    <dgm:pt modelId="{8300A3EC-4790-4104-B829-89E21368B70F}" type="pres">
      <dgm:prSet presAssocID="{7D96A7FD-6349-4EAB-8F9C-472C714D964B}" presName="spacer" presStyleCnt="0"/>
      <dgm:spPr/>
    </dgm:pt>
    <dgm:pt modelId="{FEAEE667-0626-4B18-BEC4-8BBF26B08E5F}" type="pres">
      <dgm:prSet presAssocID="{BBAB068C-352A-481A-8E1A-0BA4F063EB93}" presName="parentText" presStyleLbl="node1" presStyleIdx="4" presStyleCnt="6">
        <dgm:presLayoutVars>
          <dgm:chMax val="0"/>
          <dgm:bulletEnabled val="1"/>
        </dgm:presLayoutVars>
      </dgm:prSet>
      <dgm:spPr/>
    </dgm:pt>
    <dgm:pt modelId="{EC4FE534-D8AD-46F8-8F6B-5A8715A6760F}" type="pres">
      <dgm:prSet presAssocID="{F972A952-9FCC-433A-B9C6-1FA79A7CE771}" presName="spacer" presStyleCnt="0"/>
      <dgm:spPr/>
    </dgm:pt>
    <dgm:pt modelId="{8BB65E43-6A13-4BEF-A176-9D9B3CF9AB26}" type="pres">
      <dgm:prSet presAssocID="{36802FC7-3BC6-4108-82B0-3FD58770FC18}" presName="parentText" presStyleLbl="node1" presStyleIdx="5" presStyleCnt="6">
        <dgm:presLayoutVars>
          <dgm:chMax val="0"/>
          <dgm:bulletEnabled val="1"/>
        </dgm:presLayoutVars>
      </dgm:prSet>
      <dgm:spPr/>
    </dgm:pt>
  </dgm:ptLst>
  <dgm:cxnLst>
    <dgm:cxn modelId="{0AF3EF19-7741-48D4-87C8-DB1C43B3CCCB}" type="presOf" srcId="{36802FC7-3BC6-4108-82B0-3FD58770FC18}" destId="{8BB65E43-6A13-4BEF-A176-9D9B3CF9AB26}" srcOrd="0" destOrd="0" presId="urn:microsoft.com/office/officeart/2005/8/layout/vList2"/>
    <dgm:cxn modelId="{3967022D-16BD-44B8-8060-4C3328B7E5A0}" type="presOf" srcId="{9492303F-92F9-49C8-A1AF-BA2012164AC3}" destId="{FE7D1977-79B8-4B91-83C4-1F350233D3B8}" srcOrd="0" destOrd="0" presId="urn:microsoft.com/office/officeart/2005/8/layout/vList2"/>
    <dgm:cxn modelId="{5D3B5662-288B-4404-A082-77F374834A27}" type="presOf" srcId="{33370638-4624-43D8-8D21-CBC64B5ED47E}" destId="{E5491E8A-C162-49F9-B7B3-914239113846}" srcOrd="0" destOrd="0" presId="urn:microsoft.com/office/officeart/2005/8/layout/vList2"/>
    <dgm:cxn modelId="{BEE5C46E-4638-41C1-9362-D9A5F7968989}" srcId="{33370638-4624-43D8-8D21-CBC64B5ED47E}" destId="{2D0E9C2D-8A18-4C90-8F52-0B8E8830034F}" srcOrd="2" destOrd="0" parTransId="{9B1FEF66-373C-4891-95EF-1CD989B59894}" sibTransId="{4BCD10EE-A6CD-4D05-868B-1C22E00345DA}"/>
    <dgm:cxn modelId="{F7806B77-2D1D-4DFC-B264-3606C5BB60E2}" srcId="{33370638-4624-43D8-8D21-CBC64B5ED47E}" destId="{36802FC7-3BC6-4108-82B0-3FD58770FC18}" srcOrd="5" destOrd="0" parTransId="{6EBB9CBA-AA36-4479-AFD4-91B83DEB1428}" sibTransId="{55796CB0-C7AC-4865-8D03-D6238D55AA6F}"/>
    <dgm:cxn modelId="{6507F877-C498-4D8C-B47D-88D46035C878}" srcId="{33370638-4624-43D8-8D21-CBC64B5ED47E}" destId="{2997A99F-ADB2-4A15-A8D0-FA1ED0285108}" srcOrd="3" destOrd="0" parTransId="{387CB604-E7D3-4F5B-93A0-D5112AFBD75B}" sibTransId="{7D96A7FD-6349-4EAB-8F9C-472C714D964B}"/>
    <dgm:cxn modelId="{C1EC2658-3098-4149-AFA8-FAC0C1A48BD4}" srcId="{33370638-4624-43D8-8D21-CBC64B5ED47E}" destId="{BBAB068C-352A-481A-8E1A-0BA4F063EB93}" srcOrd="4" destOrd="0" parTransId="{58C2A8B3-53E5-4756-8FE1-A4E02E1DEF04}" sibTransId="{F972A952-9FCC-433A-B9C6-1FA79A7CE771}"/>
    <dgm:cxn modelId="{F80BC28E-F977-440D-B3E9-957B00D683C4}" type="presOf" srcId="{2997A99F-ADB2-4A15-A8D0-FA1ED0285108}" destId="{D6E98A84-729D-4C08-A88B-C8054F16ABD5}" srcOrd="0" destOrd="0" presId="urn:microsoft.com/office/officeart/2005/8/layout/vList2"/>
    <dgm:cxn modelId="{005451C6-F580-4533-97B8-199E3C901BDD}" type="presOf" srcId="{BBAB068C-352A-481A-8E1A-0BA4F063EB93}" destId="{FEAEE667-0626-4B18-BEC4-8BBF26B08E5F}" srcOrd="0" destOrd="0" presId="urn:microsoft.com/office/officeart/2005/8/layout/vList2"/>
    <dgm:cxn modelId="{AAF1D4D0-F456-4CCF-9C39-ABDDABB2E026}" srcId="{33370638-4624-43D8-8D21-CBC64B5ED47E}" destId="{9492303F-92F9-49C8-A1AF-BA2012164AC3}" srcOrd="1" destOrd="0" parTransId="{74478451-E68B-4BDD-AD99-719520E6A977}" sibTransId="{05482F50-0EDB-41D2-89F8-00DCF9928D85}"/>
    <dgm:cxn modelId="{55EDAEEB-09AD-4DDE-83FE-8398F4E030BF}" type="presOf" srcId="{2D0E9C2D-8A18-4C90-8F52-0B8E8830034F}" destId="{38C3FDDB-E1F7-44A3-9212-CCCE69CD06CD}" srcOrd="0" destOrd="0" presId="urn:microsoft.com/office/officeart/2005/8/layout/vList2"/>
    <dgm:cxn modelId="{BA0E68F4-C90E-487C-B971-0253B7650601}" srcId="{33370638-4624-43D8-8D21-CBC64B5ED47E}" destId="{EF787262-255D-4799-B301-83C37B654617}" srcOrd="0" destOrd="0" parTransId="{F996BF60-577F-4B36-8452-32FCA203E084}" sibTransId="{A87D1F9E-625E-40A9-8C94-B6AF0BC6B00B}"/>
    <dgm:cxn modelId="{0FC183F9-35C1-4551-BE28-57A4A8F34CD8}" type="presOf" srcId="{EF787262-255D-4799-B301-83C37B654617}" destId="{514CB2C1-F30D-4AC7-A0F8-59EE7430C923}" srcOrd="0" destOrd="0" presId="urn:microsoft.com/office/officeart/2005/8/layout/vList2"/>
    <dgm:cxn modelId="{29E6F1B6-EC8A-4A01-973D-FC0F6D829211}" type="presParOf" srcId="{E5491E8A-C162-49F9-B7B3-914239113846}" destId="{514CB2C1-F30D-4AC7-A0F8-59EE7430C923}" srcOrd="0" destOrd="0" presId="urn:microsoft.com/office/officeart/2005/8/layout/vList2"/>
    <dgm:cxn modelId="{05677F74-ECF6-4FD4-8181-A0CA8CE9941E}" type="presParOf" srcId="{E5491E8A-C162-49F9-B7B3-914239113846}" destId="{3FD99082-346E-4CB6-A25F-F0C7E8AB2059}" srcOrd="1" destOrd="0" presId="urn:microsoft.com/office/officeart/2005/8/layout/vList2"/>
    <dgm:cxn modelId="{66B70239-A2A7-43A1-AD71-B5EB3B97B0E5}" type="presParOf" srcId="{E5491E8A-C162-49F9-B7B3-914239113846}" destId="{FE7D1977-79B8-4B91-83C4-1F350233D3B8}" srcOrd="2" destOrd="0" presId="urn:microsoft.com/office/officeart/2005/8/layout/vList2"/>
    <dgm:cxn modelId="{2D311456-CA66-43FA-80C8-8025304BDB51}" type="presParOf" srcId="{E5491E8A-C162-49F9-B7B3-914239113846}" destId="{D1527431-9DA4-4642-AC94-CB078B457560}" srcOrd="3" destOrd="0" presId="urn:microsoft.com/office/officeart/2005/8/layout/vList2"/>
    <dgm:cxn modelId="{4BEC8C12-0FDB-469B-879E-4CC1D29DAF9E}" type="presParOf" srcId="{E5491E8A-C162-49F9-B7B3-914239113846}" destId="{38C3FDDB-E1F7-44A3-9212-CCCE69CD06CD}" srcOrd="4" destOrd="0" presId="urn:microsoft.com/office/officeart/2005/8/layout/vList2"/>
    <dgm:cxn modelId="{63002D04-4CC7-4C3C-88F7-FEAAD9207A51}" type="presParOf" srcId="{E5491E8A-C162-49F9-B7B3-914239113846}" destId="{13FCF0CA-FECF-4CAA-AED4-F03645484F7B}" srcOrd="5" destOrd="0" presId="urn:microsoft.com/office/officeart/2005/8/layout/vList2"/>
    <dgm:cxn modelId="{F86EF98C-D843-491A-826D-0F00DABA36D4}" type="presParOf" srcId="{E5491E8A-C162-49F9-B7B3-914239113846}" destId="{D6E98A84-729D-4C08-A88B-C8054F16ABD5}" srcOrd="6" destOrd="0" presId="urn:microsoft.com/office/officeart/2005/8/layout/vList2"/>
    <dgm:cxn modelId="{057C618C-680E-473F-8C1F-1EA5A2E5953F}" type="presParOf" srcId="{E5491E8A-C162-49F9-B7B3-914239113846}" destId="{8300A3EC-4790-4104-B829-89E21368B70F}" srcOrd="7" destOrd="0" presId="urn:microsoft.com/office/officeart/2005/8/layout/vList2"/>
    <dgm:cxn modelId="{96FE3444-D2B7-4CE5-926F-33C30F418128}" type="presParOf" srcId="{E5491E8A-C162-49F9-B7B3-914239113846}" destId="{FEAEE667-0626-4B18-BEC4-8BBF26B08E5F}" srcOrd="8" destOrd="0" presId="urn:microsoft.com/office/officeart/2005/8/layout/vList2"/>
    <dgm:cxn modelId="{A347ADD7-E1DA-4C9C-80EF-BA1CA217416F}" type="presParOf" srcId="{E5491E8A-C162-49F9-B7B3-914239113846}" destId="{EC4FE534-D8AD-46F8-8F6B-5A8715A6760F}" srcOrd="9" destOrd="0" presId="urn:microsoft.com/office/officeart/2005/8/layout/vList2"/>
    <dgm:cxn modelId="{EA2FFCD0-C978-432A-877B-A85DB2C8C258}" type="presParOf" srcId="{E5491E8A-C162-49F9-B7B3-914239113846}" destId="{8BB65E43-6A13-4BEF-A176-9D9B3CF9AB26}"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55BCC51-84CF-440D-8C6A-B7911F31D2B0}"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3A96BFED-4108-4BB6-A9B1-8F97254ADEC8}">
      <dgm:prSet/>
      <dgm:spPr/>
      <dgm:t>
        <a:bodyPr/>
        <a:lstStyle/>
        <a:p>
          <a:r>
            <a:rPr lang="en-US" baseline="0" dirty="0"/>
            <a:t>Keep transactions as short as possible</a:t>
          </a:r>
          <a:endParaRPr lang="en-US" dirty="0"/>
        </a:p>
      </dgm:t>
    </dgm:pt>
    <dgm:pt modelId="{C7A91B69-B5D8-48E6-9637-B9720BCD0CD3}" type="parTrans" cxnId="{2DA47847-262C-41F2-9046-3F35FBD87337}">
      <dgm:prSet/>
      <dgm:spPr/>
      <dgm:t>
        <a:bodyPr/>
        <a:lstStyle/>
        <a:p>
          <a:endParaRPr lang="en-US"/>
        </a:p>
      </dgm:t>
    </dgm:pt>
    <dgm:pt modelId="{CE47FF37-3330-4120-AB0B-A96B23019132}" type="sibTrans" cxnId="{2DA47847-262C-41F2-9046-3F35FBD87337}">
      <dgm:prSet/>
      <dgm:spPr/>
      <dgm:t>
        <a:bodyPr/>
        <a:lstStyle/>
        <a:p>
          <a:endParaRPr lang="en-US"/>
        </a:p>
      </dgm:t>
    </dgm:pt>
    <dgm:pt modelId="{527CDB06-2C39-480B-BDAD-09492C9B3D44}">
      <dgm:prSet/>
      <dgm:spPr/>
      <dgm:t>
        <a:bodyPr/>
        <a:lstStyle/>
        <a:p>
          <a:r>
            <a:rPr lang="en-US" baseline="0" dirty="0"/>
            <a:t>Do not require user input</a:t>
          </a:r>
          <a:endParaRPr lang="en-US" dirty="0"/>
        </a:p>
      </dgm:t>
    </dgm:pt>
    <dgm:pt modelId="{34754B0C-F655-4606-A9BD-70A8856F458B}" type="parTrans" cxnId="{21535464-74C7-4188-B0ED-B59A313F89B7}">
      <dgm:prSet/>
      <dgm:spPr/>
      <dgm:t>
        <a:bodyPr/>
        <a:lstStyle/>
        <a:p>
          <a:endParaRPr lang="en-US"/>
        </a:p>
      </dgm:t>
    </dgm:pt>
    <dgm:pt modelId="{34E694A9-89CC-40E8-B5CC-31E02B97AC5B}" type="sibTrans" cxnId="{21535464-74C7-4188-B0ED-B59A313F89B7}">
      <dgm:prSet/>
      <dgm:spPr/>
      <dgm:t>
        <a:bodyPr/>
        <a:lstStyle/>
        <a:p>
          <a:endParaRPr lang="en-US"/>
        </a:p>
      </dgm:t>
    </dgm:pt>
    <dgm:pt modelId="{B21229B6-F146-4359-A1D6-3ED71DE886E3}">
      <dgm:prSet/>
      <dgm:spPr/>
      <dgm:t>
        <a:bodyPr/>
        <a:lstStyle/>
        <a:p>
          <a:r>
            <a:rPr lang="en-US" baseline="0" dirty="0"/>
            <a:t>Do not open a transaction while browsing through data</a:t>
          </a:r>
          <a:endParaRPr lang="en-US" dirty="0"/>
        </a:p>
      </dgm:t>
    </dgm:pt>
    <dgm:pt modelId="{B2AD2509-65A7-45DD-B2A6-AE49EC76910A}" type="parTrans" cxnId="{18D3C60E-43CF-48BA-9BB8-A042C022D0F3}">
      <dgm:prSet/>
      <dgm:spPr/>
      <dgm:t>
        <a:bodyPr/>
        <a:lstStyle/>
        <a:p>
          <a:endParaRPr lang="en-US"/>
        </a:p>
      </dgm:t>
    </dgm:pt>
    <dgm:pt modelId="{584C4D7D-7F29-4A72-A0E0-92E3146CC740}" type="sibTrans" cxnId="{18D3C60E-43CF-48BA-9BB8-A042C022D0F3}">
      <dgm:prSet/>
      <dgm:spPr/>
      <dgm:t>
        <a:bodyPr/>
        <a:lstStyle/>
        <a:p>
          <a:endParaRPr lang="en-US"/>
        </a:p>
      </dgm:t>
    </dgm:pt>
    <dgm:pt modelId="{8863CEA4-E714-4F1B-AA42-757785CBC6D8}">
      <dgm:prSet/>
      <dgm:spPr/>
      <dgm:t>
        <a:bodyPr/>
        <a:lstStyle/>
        <a:p>
          <a:r>
            <a:rPr lang="en-US" baseline="0" dirty="0"/>
            <a:t>Access the least amount of data possible</a:t>
          </a:r>
          <a:endParaRPr lang="en-US" dirty="0"/>
        </a:p>
      </dgm:t>
    </dgm:pt>
    <dgm:pt modelId="{2670B6A0-9AD3-4CA9-A17B-A4DFFC7DA181}" type="parTrans" cxnId="{0DC544BE-F44E-4051-B7BA-AB2747EFF412}">
      <dgm:prSet/>
      <dgm:spPr/>
      <dgm:t>
        <a:bodyPr/>
        <a:lstStyle/>
        <a:p>
          <a:endParaRPr lang="en-US"/>
        </a:p>
      </dgm:t>
    </dgm:pt>
    <dgm:pt modelId="{3BC7185F-CF36-46ED-9FBF-F7201E97E7F6}" type="sibTrans" cxnId="{0DC544BE-F44E-4051-B7BA-AB2747EFF412}">
      <dgm:prSet/>
      <dgm:spPr/>
      <dgm:t>
        <a:bodyPr/>
        <a:lstStyle/>
        <a:p>
          <a:endParaRPr lang="en-US"/>
        </a:p>
      </dgm:t>
    </dgm:pt>
    <dgm:pt modelId="{C50DB1E3-5517-4D02-879D-513071DC3E88}">
      <dgm:prSet/>
      <dgm:spPr/>
      <dgm:t>
        <a:bodyPr/>
        <a:lstStyle/>
        <a:p>
          <a:r>
            <a:rPr lang="en-US" baseline="0" dirty="0"/>
            <a:t>Do not open the transaction before it is required</a:t>
          </a:r>
          <a:endParaRPr lang="en-US" dirty="0"/>
        </a:p>
      </dgm:t>
    </dgm:pt>
    <dgm:pt modelId="{DB257940-4E74-47ED-9B86-BD5BAA902FFA}" type="parTrans" cxnId="{176524A4-958C-4CC1-9DB8-F248EAD91E3D}">
      <dgm:prSet/>
      <dgm:spPr/>
      <dgm:t>
        <a:bodyPr/>
        <a:lstStyle/>
        <a:p>
          <a:endParaRPr lang="en-US"/>
        </a:p>
      </dgm:t>
    </dgm:pt>
    <dgm:pt modelId="{0EA2224E-E203-40BB-A44F-B5CF9DFC6A1D}" type="sibTrans" cxnId="{176524A4-958C-4CC1-9DB8-F248EAD91E3D}">
      <dgm:prSet/>
      <dgm:spPr/>
      <dgm:t>
        <a:bodyPr/>
        <a:lstStyle/>
        <a:p>
          <a:endParaRPr lang="en-US"/>
        </a:p>
      </dgm:t>
    </dgm:pt>
    <dgm:pt modelId="{73C11DA0-5C99-40B9-B60E-C5BF1E55B531}">
      <dgm:prSet/>
      <dgm:spPr/>
      <dgm:t>
        <a:bodyPr/>
        <a:lstStyle/>
        <a:p>
          <a:r>
            <a:rPr lang="en-US" baseline="0" dirty="0"/>
            <a:t>Ensure that appropriate indexing is in place </a:t>
          </a:r>
          <a:endParaRPr lang="en-US" dirty="0"/>
        </a:p>
      </dgm:t>
    </dgm:pt>
    <dgm:pt modelId="{4D608D4E-B111-4D59-B129-F300DD8B0102}" type="parTrans" cxnId="{30136D12-EBAC-4B9D-976F-E75291A06248}">
      <dgm:prSet/>
      <dgm:spPr/>
      <dgm:t>
        <a:bodyPr/>
        <a:lstStyle/>
        <a:p>
          <a:endParaRPr lang="en-US"/>
        </a:p>
      </dgm:t>
    </dgm:pt>
    <dgm:pt modelId="{72B64B91-FB29-496A-824A-572647DF2D90}" type="sibTrans" cxnId="{30136D12-EBAC-4B9D-976F-E75291A06248}">
      <dgm:prSet/>
      <dgm:spPr/>
      <dgm:t>
        <a:bodyPr/>
        <a:lstStyle/>
        <a:p>
          <a:endParaRPr lang="en-US"/>
        </a:p>
      </dgm:t>
    </dgm:pt>
    <dgm:pt modelId="{77B45903-007B-4D0E-ADE8-D54A3D327183}">
      <dgm:prSet/>
      <dgm:spPr/>
      <dgm:t>
        <a:bodyPr/>
        <a:lstStyle/>
        <a:p>
          <a:r>
            <a:rPr lang="en-US" baseline="0" dirty="0"/>
            <a:t>Try to access resources in the same order</a:t>
          </a:r>
          <a:endParaRPr lang="en-US" dirty="0"/>
        </a:p>
      </dgm:t>
    </dgm:pt>
    <dgm:pt modelId="{612ADBC5-8595-41BF-95D4-B1DA072C1BE8}" type="parTrans" cxnId="{20A99DE2-6DF2-4DF9-9523-0DC0ABB7EB02}">
      <dgm:prSet/>
      <dgm:spPr/>
      <dgm:t>
        <a:bodyPr/>
        <a:lstStyle/>
        <a:p>
          <a:endParaRPr lang="en-US"/>
        </a:p>
      </dgm:t>
    </dgm:pt>
    <dgm:pt modelId="{FE1BA839-B856-4DC4-BD8F-FC7AF5A0B2C0}" type="sibTrans" cxnId="{20A99DE2-6DF2-4DF9-9523-0DC0ABB7EB02}">
      <dgm:prSet/>
      <dgm:spPr/>
      <dgm:t>
        <a:bodyPr/>
        <a:lstStyle/>
        <a:p>
          <a:endParaRPr lang="en-US"/>
        </a:p>
      </dgm:t>
    </dgm:pt>
    <dgm:pt modelId="{16F2C7EA-A88F-4F2F-A705-7CBBC30E9331}">
      <dgm:prSet/>
      <dgm:spPr/>
      <dgm:t>
        <a:bodyPr/>
        <a:lstStyle/>
        <a:p>
          <a:r>
            <a:rPr lang="en-US" baseline="0" dirty="0"/>
            <a:t>Wherever possible access resources in the same order to avoid Deadlocks</a:t>
          </a:r>
          <a:endParaRPr lang="en-US" dirty="0"/>
        </a:p>
      </dgm:t>
    </dgm:pt>
    <dgm:pt modelId="{8791E743-DE2A-4A0C-8496-D9980F9EA33E}" type="parTrans" cxnId="{9B56E92A-427B-4E8E-86E0-2298CC63395F}">
      <dgm:prSet/>
      <dgm:spPr/>
      <dgm:t>
        <a:bodyPr/>
        <a:lstStyle/>
        <a:p>
          <a:endParaRPr lang="en-US"/>
        </a:p>
      </dgm:t>
    </dgm:pt>
    <dgm:pt modelId="{626505BF-4414-4CAA-B4F5-DC65047F10D2}" type="sibTrans" cxnId="{9B56E92A-427B-4E8E-86E0-2298CC63395F}">
      <dgm:prSet/>
      <dgm:spPr/>
      <dgm:t>
        <a:bodyPr/>
        <a:lstStyle/>
        <a:p>
          <a:endParaRPr lang="en-US"/>
        </a:p>
      </dgm:t>
    </dgm:pt>
    <dgm:pt modelId="{72E79B2E-264B-48AC-87F3-6DE878B44706}" type="pres">
      <dgm:prSet presAssocID="{B55BCC51-84CF-440D-8C6A-B7911F31D2B0}" presName="linear" presStyleCnt="0">
        <dgm:presLayoutVars>
          <dgm:animLvl val="lvl"/>
          <dgm:resizeHandles val="exact"/>
        </dgm:presLayoutVars>
      </dgm:prSet>
      <dgm:spPr/>
    </dgm:pt>
    <dgm:pt modelId="{85451440-D399-43E5-B520-B4B70F08C09A}" type="pres">
      <dgm:prSet presAssocID="{3A96BFED-4108-4BB6-A9B1-8F97254ADEC8}" presName="parentText" presStyleLbl="node1" presStyleIdx="0" presStyleCnt="2">
        <dgm:presLayoutVars>
          <dgm:chMax val="0"/>
          <dgm:bulletEnabled val="1"/>
        </dgm:presLayoutVars>
      </dgm:prSet>
      <dgm:spPr/>
    </dgm:pt>
    <dgm:pt modelId="{F6FA02FB-FEA6-4B10-978B-70072FEF2CF0}" type="pres">
      <dgm:prSet presAssocID="{3A96BFED-4108-4BB6-A9B1-8F97254ADEC8}" presName="childText" presStyleLbl="revTx" presStyleIdx="0" presStyleCnt="2">
        <dgm:presLayoutVars>
          <dgm:bulletEnabled val="1"/>
        </dgm:presLayoutVars>
      </dgm:prSet>
      <dgm:spPr/>
    </dgm:pt>
    <dgm:pt modelId="{13D14AB9-31D2-4023-BDA9-10B16CF33180}" type="pres">
      <dgm:prSet presAssocID="{77B45903-007B-4D0E-ADE8-D54A3D327183}" presName="parentText" presStyleLbl="node1" presStyleIdx="1" presStyleCnt="2">
        <dgm:presLayoutVars>
          <dgm:chMax val="0"/>
          <dgm:bulletEnabled val="1"/>
        </dgm:presLayoutVars>
      </dgm:prSet>
      <dgm:spPr/>
    </dgm:pt>
    <dgm:pt modelId="{535064DF-4278-4F9E-8019-C6D6DEA2C87E}" type="pres">
      <dgm:prSet presAssocID="{77B45903-007B-4D0E-ADE8-D54A3D327183}" presName="childText" presStyleLbl="revTx" presStyleIdx="1" presStyleCnt="2">
        <dgm:presLayoutVars>
          <dgm:bulletEnabled val="1"/>
        </dgm:presLayoutVars>
      </dgm:prSet>
      <dgm:spPr/>
    </dgm:pt>
  </dgm:ptLst>
  <dgm:cxnLst>
    <dgm:cxn modelId="{18D3C60E-43CF-48BA-9BB8-A042C022D0F3}" srcId="{3A96BFED-4108-4BB6-A9B1-8F97254ADEC8}" destId="{B21229B6-F146-4359-A1D6-3ED71DE886E3}" srcOrd="1" destOrd="0" parTransId="{B2AD2509-65A7-45DD-B2A6-AE49EC76910A}" sibTransId="{584C4D7D-7F29-4A72-A0E0-92E3146CC740}"/>
    <dgm:cxn modelId="{30136D12-EBAC-4B9D-976F-E75291A06248}" srcId="{3A96BFED-4108-4BB6-A9B1-8F97254ADEC8}" destId="{73C11DA0-5C99-40B9-B60E-C5BF1E55B531}" srcOrd="4" destOrd="0" parTransId="{4D608D4E-B111-4D59-B129-F300DD8B0102}" sibTransId="{72B64B91-FB29-496A-824A-572647DF2D90}"/>
    <dgm:cxn modelId="{C6DF7215-A323-4FEE-AB5D-B26E4B60B4F8}" type="presOf" srcId="{16F2C7EA-A88F-4F2F-A705-7CBBC30E9331}" destId="{535064DF-4278-4F9E-8019-C6D6DEA2C87E}" srcOrd="0" destOrd="0" presId="urn:microsoft.com/office/officeart/2005/8/layout/vList2"/>
    <dgm:cxn modelId="{9B56E92A-427B-4E8E-86E0-2298CC63395F}" srcId="{77B45903-007B-4D0E-ADE8-D54A3D327183}" destId="{16F2C7EA-A88F-4F2F-A705-7CBBC30E9331}" srcOrd="0" destOrd="0" parTransId="{8791E743-DE2A-4A0C-8496-D9980F9EA33E}" sibTransId="{626505BF-4414-4CAA-B4F5-DC65047F10D2}"/>
    <dgm:cxn modelId="{8A8A812B-FCBF-40BC-901C-FB5367797997}" type="presOf" srcId="{C50DB1E3-5517-4D02-879D-513071DC3E88}" destId="{F6FA02FB-FEA6-4B10-978B-70072FEF2CF0}" srcOrd="0" destOrd="3" presId="urn:microsoft.com/office/officeart/2005/8/layout/vList2"/>
    <dgm:cxn modelId="{A39CE52F-F5BD-47C1-8C0E-00A993079B44}" type="presOf" srcId="{8863CEA4-E714-4F1B-AA42-757785CBC6D8}" destId="{F6FA02FB-FEA6-4B10-978B-70072FEF2CF0}" srcOrd="0" destOrd="2" presId="urn:microsoft.com/office/officeart/2005/8/layout/vList2"/>
    <dgm:cxn modelId="{4F825933-1595-4ED9-A9AB-1E01A524EB37}" type="presOf" srcId="{73C11DA0-5C99-40B9-B60E-C5BF1E55B531}" destId="{F6FA02FB-FEA6-4B10-978B-70072FEF2CF0}" srcOrd="0" destOrd="4" presId="urn:microsoft.com/office/officeart/2005/8/layout/vList2"/>
    <dgm:cxn modelId="{21535464-74C7-4188-B0ED-B59A313F89B7}" srcId="{3A96BFED-4108-4BB6-A9B1-8F97254ADEC8}" destId="{527CDB06-2C39-480B-BDAD-09492C9B3D44}" srcOrd="0" destOrd="0" parTransId="{34754B0C-F655-4606-A9BD-70A8856F458B}" sibTransId="{34E694A9-89CC-40E8-B5CC-31E02B97AC5B}"/>
    <dgm:cxn modelId="{2DA47847-262C-41F2-9046-3F35FBD87337}" srcId="{B55BCC51-84CF-440D-8C6A-B7911F31D2B0}" destId="{3A96BFED-4108-4BB6-A9B1-8F97254ADEC8}" srcOrd="0" destOrd="0" parTransId="{C7A91B69-B5D8-48E6-9637-B9720BCD0CD3}" sibTransId="{CE47FF37-3330-4120-AB0B-A96B23019132}"/>
    <dgm:cxn modelId="{176524A4-958C-4CC1-9DB8-F248EAD91E3D}" srcId="{3A96BFED-4108-4BB6-A9B1-8F97254ADEC8}" destId="{C50DB1E3-5517-4D02-879D-513071DC3E88}" srcOrd="3" destOrd="0" parTransId="{DB257940-4E74-47ED-9B86-BD5BAA902FFA}" sibTransId="{0EA2224E-E203-40BB-A44F-B5CF9DFC6A1D}"/>
    <dgm:cxn modelId="{ECDEA0B1-A08E-4311-81DA-5ED5C4B33BEA}" type="presOf" srcId="{B21229B6-F146-4359-A1D6-3ED71DE886E3}" destId="{F6FA02FB-FEA6-4B10-978B-70072FEF2CF0}" srcOrd="0" destOrd="1" presId="urn:microsoft.com/office/officeart/2005/8/layout/vList2"/>
    <dgm:cxn modelId="{0DC544BE-F44E-4051-B7BA-AB2747EFF412}" srcId="{3A96BFED-4108-4BB6-A9B1-8F97254ADEC8}" destId="{8863CEA4-E714-4F1B-AA42-757785CBC6D8}" srcOrd="2" destOrd="0" parTransId="{2670B6A0-9AD3-4CA9-A17B-A4DFFC7DA181}" sibTransId="{3BC7185F-CF36-46ED-9FBF-F7201E97E7F6}"/>
    <dgm:cxn modelId="{2A6AB1DB-BD69-40A6-A6BE-5E7807DF1919}" type="presOf" srcId="{77B45903-007B-4D0E-ADE8-D54A3D327183}" destId="{13D14AB9-31D2-4023-BDA9-10B16CF33180}" srcOrd="0" destOrd="0" presId="urn:microsoft.com/office/officeart/2005/8/layout/vList2"/>
    <dgm:cxn modelId="{731311DE-2CD6-441D-8E3F-58CB20C957CA}" type="presOf" srcId="{527CDB06-2C39-480B-BDAD-09492C9B3D44}" destId="{F6FA02FB-FEA6-4B10-978B-70072FEF2CF0}" srcOrd="0" destOrd="0" presId="urn:microsoft.com/office/officeart/2005/8/layout/vList2"/>
    <dgm:cxn modelId="{20A99DE2-6DF2-4DF9-9523-0DC0ABB7EB02}" srcId="{B55BCC51-84CF-440D-8C6A-B7911F31D2B0}" destId="{77B45903-007B-4D0E-ADE8-D54A3D327183}" srcOrd="1" destOrd="0" parTransId="{612ADBC5-8595-41BF-95D4-B1DA072C1BE8}" sibTransId="{FE1BA839-B856-4DC4-BD8F-FC7AF5A0B2C0}"/>
    <dgm:cxn modelId="{74FB05E4-ED2E-4923-B5AB-7F634AC9A0B2}" type="presOf" srcId="{B55BCC51-84CF-440D-8C6A-B7911F31D2B0}" destId="{72E79B2E-264B-48AC-87F3-6DE878B44706}" srcOrd="0" destOrd="0" presId="urn:microsoft.com/office/officeart/2005/8/layout/vList2"/>
    <dgm:cxn modelId="{B9AD51F1-3108-4194-8A38-370276270394}" type="presOf" srcId="{3A96BFED-4108-4BB6-A9B1-8F97254ADEC8}" destId="{85451440-D399-43E5-B520-B4B70F08C09A}" srcOrd="0" destOrd="0" presId="urn:microsoft.com/office/officeart/2005/8/layout/vList2"/>
    <dgm:cxn modelId="{0A3F69D6-F27A-4EDE-9363-B222DD3B4106}" type="presParOf" srcId="{72E79B2E-264B-48AC-87F3-6DE878B44706}" destId="{85451440-D399-43E5-B520-B4B70F08C09A}" srcOrd="0" destOrd="0" presId="urn:microsoft.com/office/officeart/2005/8/layout/vList2"/>
    <dgm:cxn modelId="{DD9D3CA6-CA7F-4114-98A9-6503598FE594}" type="presParOf" srcId="{72E79B2E-264B-48AC-87F3-6DE878B44706}" destId="{F6FA02FB-FEA6-4B10-978B-70072FEF2CF0}" srcOrd="1" destOrd="0" presId="urn:microsoft.com/office/officeart/2005/8/layout/vList2"/>
    <dgm:cxn modelId="{D42E1B7D-13E2-4830-A54B-F7B9016C2B45}" type="presParOf" srcId="{72E79B2E-264B-48AC-87F3-6DE878B44706}" destId="{13D14AB9-31D2-4023-BDA9-10B16CF33180}" srcOrd="2" destOrd="0" presId="urn:microsoft.com/office/officeart/2005/8/layout/vList2"/>
    <dgm:cxn modelId="{62C0B20B-6D03-447F-A795-178A9289AB96}" type="presParOf" srcId="{72E79B2E-264B-48AC-87F3-6DE878B44706}" destId="{535064DF-4278-4F9E-8019-C6D6DEA2C87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default transaction mode in SQL Server?</a:t>
          </a:r>
          <a:endParaRPr lang="en-US" sz="2400" b="0" dirty="0"/>
        </a:p>
      </dgm:t>
    </dgm:pt>
    <dgm:pt modelId="{74BFB16A-6DC3-47DD-AE97-F15F596B23DF}" type="parTrans" cxnId="{4BB646B5-2A6D-439D-A88F-AC928930541F}">
      <dgm:prSet/>
      <dgm:spPr/>
      <dgm:t>
        <a:bodyPr/>
        <a:lstStyle/>
        <a:p>
          <a:endParaRPr lang="en-US" sz="2800"/>
        </a:p>
      </dgm:t>
    </dgm:pt>
    <dgm:pt modelId="{CAE4D9F8-FDBB-4525-9125-6BAF56328FCE}" type="sibTrans" cxnId="{4BB646B5-2A6D-439D-A88F-AC928930541F}">
      <dgm:prSet/>
      <dgm:spPr/>
      <dgm:t>
        <a:bodyPr/>
        <a:lstStyle/>
        <a:p>
          <a:endParaRPr lang="en-US" sz="2800"/>
        </a:p>
      </dgm:t>
    </dgm:pt>
    <dgm:pt modelId="{2539C4A6-E1C4-421E-9A76-43A43CD019F1}">
      <dgm:prSet custT="1"/>
      <dgm:spPr/>
      <dgm:t>
        <a:bodyPr/>
        <a:lstStyle/>
        <a:p>
          <a:pPr>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EE408FE7-55DA-4DD2-AF86-B751F04B0560}" type="parTrans" cxnId="{98492234-25A1-433B-AC6D-1D609DCBF9E5}">
      <dgm:prSet/>
      <dgm:spPr/>
      <dgm:t>
        <a:bodyPr/>
        <a:lstStyle/>
        <a:p>
          <a:endParaRPr lang="en-US" sz="2800"/>
        </a:p>
      </dgm:t>
    </dgm:pt>
    <dgm:pt modelId="{3FBAB6A2-0607-4274-9C0A-0E5D7E46D320}" type="sibTrans" cxnId="{98492234-25A1-433B-AC6D-1D609DCBF9E5}">
      <dgm:prSet/>
      <dgm:spPr/>
      <dgm:t>
        <a:bodyPr/>
        <a:lstStyle/>
        <a:p>
          <a:endParaRPr lang="en-US" sz="2800"/>
        </a:p>
      </dgm:t>
    </dgm:pt>
    <dgm:pt modelId="{3F4B0794-5886-4A04-A4E4-A04EC23DDAC8}">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AD71B35B-409A-438D-B610-400CB3F8D3FC}" type="parTrans" cxnId="{B5AC9E8E-1E15-4637-B6CA-B32310CC0EAA}">
      <dgm:prSet/>
      <dgm:spPr/>
      <dgm:t>
        <a:bodyPr/>
        <a:lstStyle/>
        <a:p>
          <a:endParaRPr lang="en-US"/>
        </a:p>
      </dgm:t>
    </dgm:pt>
    <dgm:pt modelId="{1A5B2F50-50D2-4873-BB4F-57AEC2561142}" type="sibTrans" cxnId="{B5AC9E8E-1E15-4637-B6CA-B32310CC0EAA}">
      <dgm:prSet/>
      <dgm:spPr/>
      <dgm:t>
        <a:bodyPr/>
        <a:lstStyle/>
        <a:p>
          <a:endParaRPr lang="en-US"/>
        </a:p>
      </dgm:t>
    </dgm:pt>
    <dgm:pt modelId="{82D48696-6C10-4448-9BD7-4C7B77A5188E}">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DDD51AF2-6051-4640-AA8E-24F18D2C8384}" type="parTrans" cxnId="{3F8EECDB-CB8E-4992-9A89-F7F398D6ECED}">
      <dgm:prSet/>
      <dgm:spPr/>
      <dgm:t>
        <a:bodyPr/>
        <a:lstStyle/>
        <a:p>
          <a:endParaRPr lang="en-US"/>
        </a:p>
      </dgm:t>
    </dgm:pt>
    <dgm:pt modelId="{AB5207E9-EF2B-4965-8A80-39EB7F1D9880}" type="sibTrans" cxnId="{3F8EECDB-CB8E-4992-9A89-F7F398D6ECED}">
      <dgm:prSet/>
      <dgm:spPr/>
      <dgm:t>
        <a:bodyPr/>
        <a:lstStyle/>
        <a:p>
          <a:endParaRPr lang="en-US"/>
        </a:p>
      </dgm:t>
    </dgm:pt>
    <dgm:pt modelId="{EEB5E4EE-F6AF-4CA0-8F8E-D040B075B02F}">
      <dgm:prSet custT="1"/>
      <dgm:spPr/>
      <dgm:t>
        <a:bodyPr/>
        <a:lstStyle/>
        <a:p>
          <a:pPr>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gm:t>
    </dgm:pt>
    <dgm:pt modelId="{75A8E464-3E0B-41FA-BA27-80D6E8568D43}" type="parTrans" cxnId="{8ED9E3AD-00A0-493B-AA81-899B7A36D0A5}">
      <dgm:prSet/>
      <dgm:spPr/>
      <dgm:t>
        <a:bodyPr/>
        <a:lstStyle/>
        <a:p>
          <a:endParaRPr lang="en-US"/>
        </a:p>
      </dgm:t>
    </dgm:pt>
    <dgm:pt modelId="{7F477A2C-0B88-474C-A6C3-6364F1EADB41}" type="sibTrans" cxnId="{8ED9E3AD-00A0-493B-AA81-899B7A36D0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0E5177C7-801D-471B-9850-4FD8DFBC4036}" type="pres">
      <dgm:prSet presAssocID="{2539C4A6-E1C4-421E-9A76-43A43CD019F1}" presName="parentText" presStyleLbl="node1" presStyleIdx="1" presStyleCnt="2">
        <dgm:presLayoutVars>
          <dgm:chMax val="0"/>
          <dgm:bulletEnabled val="1"/>
        </dgm:presLayoutVars>
      </dgm:prSet>
      <dgm:spPr/>
    </dgm:pt>
    <dgm:pt modelId="{C2412117-FADA-41A5-A64B-12BECCFFCE29}" type="pres">
      <dgm:prSet presAssocID="{2539C4A6-E1C4-421E-9A76-43A43CD019F1}" presName="childText" presStyleLbl="revTx" presStyleIdx="0" presStyleCnt="1">
        <dgm:presLayoutVars>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1" destOrd="0" parTransId="{EE408FE7-55DA-4DD2-AF86-B751F04B0560}" sibTransId="{3FBAB6A2-0607-4274-9C0A-0E5D7E46D320}"/>
    <dgm:cxn modelId="{D507163C-B490-46D0-ACFB-7E4C8EC1F6E4}" type="presOf" srcId="{3F4B0794-5886-4A04-A4E4-A04EC23DDAC8}" destId="{C2412117-FADA-41A5-A64B-12BECCFFCE29}" srcOrd="0" destOrd="2" presId="urn:microsoft.com/office/officeart/2005/8/layout/vList2"/>
    <dgm:cxn modelId="{F9C35287-5AE3-4106-AE73-0C617EB95026}" type="presOf" srcId="{EEB5E4EE-F6AF-4CA0-8F8E-D040B075B02F}" destId="{C2412117-FADA-41A5-A64B-12BECCFFCE29}" srcOrd="0" destOrd="1" presId="urn:microsoft.com/office/officeart/2005/8/layout/vList2"/>
    <dgm:cxn modelId="{B5AC9E8E-1E15-4637-B6CA-B32310CC0EAA}" srcId="{2539C4A6-E1C4-421E-9A76-43A43CD019F1}" destId="{3F4B0794-5886-4A04-A4E4-A04EC23DDAC8}" srcOrd="2" destOrd="0" parTransId="{AD71B35B-409A-438D-B610-400CB3F8D3FC}" sibTransId="{1A5B2F50-50D2-4873-BB4F-57AEC2561142}"/>
    <dgm:cxn modelId="{D59479A7-7619-4C50-B624-878587CECB94}" type="presOf" srcId="{82D48696-6C10-4448-9BD7-4C7B77A5188E}" destId="{C2412117-FADA-41A5-A64B-12BECCFFCE29}" srcOrd="0" destOrd="0" presId="urn:microsoft.com/office/officeart/2005/8/layout/vList2"/>
    <dgm:cxn modelId="{8ED9E3AD-00A0-493B-AA81-899B7A36D0A5}" srcId="{2539C4A6-E1C4-421E-9A76-43A43CD019F1}" destId="{EEB5E4EE-F6AF-4CA0-8F8E-D040B075B02F}" srcOrd="1" destOrd="0" parTransId="{75A8E464-3E0B-41FA-BA27-80D6E8568D43}" sibTransId="{7F477A2C-0B88-474C-A6C3-6364F1EADB4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F8EECDB-CB8E-4992-9A89-F7F398D6ECED}" srcId="{2539C4A6-E1C4-421E-9A76-43A43CD019F1}" destId="{82D48696-6C10-4448-9BD7-4C7B77A5188E}" srcOrd="0" destOrd="0" parTransId="{DDD51AF2-6051-4640-AA8E-24F18D2C8384}" sibTransId="{AB5207E9-EF2B-4965-8A80-39EB7F1D9880}"/>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6E1127B-6AED-406C-8533-3D786D7E7A36}" type="presParOf" srcId="{97400BD5-14CE-4761-8A6A-64BC46D23158}" destId="{0E5177C7-801D-471B-9850-4FD8DFBC4036}" srcOrd="2" destOrd="0" presId="urn:microsoft.com/office/officeart/2005/8/layout/vList2"/>
    <dgm:cxn modelId="{932C4356-9673-48B9-B6DF-078984C3A338}" type="presParOf" srcId="{97400BD5-14CE-4761-8A6A-64BC46D23158}" destId="{C2412117-FADA-41A5-A64B-12BECCFFCE2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EB1719-8B3F-4B5F-9074-81D299B43D74}"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08316EB2-E1D7-4804-B358-6DA300609FE9}">
      <dgm:prSet/>
      <dgm:spPr/>
      <dgm:t>
        <a:bodyPr/>
        <a:lstStyle/>
        <a:p>
          <a:r>
            <a:rPr lang="en-US"/>
            <a:t>Dirty Read</a:t>
          </a:r>
        </a:p>
      </dgm:t>
    </dgm:pt>
    <dgm:pt modelId="{EA39641F-51D8-443F-B6D1-6A4C5F39E014}" type="parTrans" cxnId="{B86083E4-4417-4C2D-9FCD-852A9B96A88C}">
      <dgm:prSet/>
      <dgm:spPr/>
      <dgm:t>
        <a:bodyPr/>
        <a:lstStyle/>
        <a:p>
          <a:endParaRPr lang="en-US"/>
        </a:p>
      </dgm:t>
    </dgm:pt>
    <dgm:pt modelId="{D8F4D70C-D78A-4DFE-B664-921F7F0EEEF5}" type="sibTrans" cxnId="{B86083E4-4417-4C2D-9FCD-852A9B96A88C}">
      <dgm:prSet/>
      <dgm:spPr/>
      <dgm:t>
        <a:bodyPr/>
        <a:lstStyle/>
        <a:p>
          <a:endParaRPr lang="en-US"/>
        </a:p>
      </dgm:t>
    </dgm:pt>
    <dgm:pt modelId="{1271580C-D261-42DC-9E54-91A2352EF24E}">
      <dgm:prSet/>
      <dgm:spPr/>
      <dgm:t>
        <a:bodyPr/>
        <a:lstStyle/>
        <a:p>
          <a:r>
            <a:rPr lang="en-US" dirty="0"/>
            <a:t>The values retrieved may reflect uncommitted changes that could be rolled back.</a:t>
          </a:r>
        </a:p>
      </dgm:t>
    </dgm:pt>
    <dgm:pt modelId="{C253F0E8-740D-4344-AB71-B720DF9796C7}" type="parTrans" cxnId="{D4DC9775-D6E9-4FD0-A68E-93323F1C9A49}">
      <dgm:prSet/>
      <dgm:spPr/>
      <dgm:t>
        <a:bodyPr/>
        <a:lstStyle/>
        <a:p>
          <a:endParaRPr lang="en-US"/>
        </a:p>
      </dgm:t>
    </dgm:pt>
    <dgm:pt modelId="{60FF7FB4-C8D2-4C62-BAC7-F04DEB77653D}" type="sibTrans" cxnId="{D4DC9775-D6E9-4FD0-A68E-93323F1C9A49}">
      <dgm:prSet/>
      <dgm:spPr/>
      <dgm:t>
        <a:bodyPr/>
        <a:lstStyle/>
        <a:p>
          <a:endParaRPr lang="en-US"/>
        </a:p>
      </dgm:t>
    </dgm:pt>
    <dgm:pt modelId="{B18018F9-4253-4DBD-AFB4-CBA09ECAEE5E}">
      <dgm:prSet/>
      <dgm:spPr/>
      <dgm:t>
        <a:bodyPr/>
        <a:lstStyle/>
        <a:p>
          <a:r>
            <a:rPr lang="en-US"/>
            <a:t>Non-Repeatable Read</a:t>
          </a:r>
        </a:p>
      </dgm:t>
    </dgm:pt>
    <dgm:pt modelId="{1B8B9466-5311-4A33-BB81-7F2F3614ACBD}" type="parTrans" cxnId="{0E5A49DB-91C4-41B2-BCB3-A3BBF6FB24D3}">
      <dgm:prSet/>
      <dgm:spPr/>
      <dgm:t>
        <a:bodyPr/>
        <a:lstStyle/>
        <a:p>
          <a:endParaRPr lang="en-US"/>
        </a:p>
      </dgm:t>
    </dgm:pt>
    <dgm:pt modelId="{B22F3D43-DC35-4731-BC7B-AC12F2CF0B95}" type="sibTrans" cxnId="{0E5A49DB-91C4-41B2-BCB3-A3BBF6FB24D3}">
      <dgm:prSet/>
      <dgm:spPr/>
      <dgm:t>
        <a:bodyPr/>
        <a:lstStyle/>
        <a:p>
          <a:endParaRPr lang="en-US"/>
        </a:p>
      </dgm:t>
    </dgm:pt>
    <dgm:pt modelId="{3D563F8E-1150-4C27-A5C8-C86602728644}">
      <dgm:prSet/>
      <dgm:spPr/>
      <dgm:t>
        <a:bodyPr/>
        <a:lstStyle/>
        <a:p>
          <a:r>
            <a:rPr lang="en-US"/>
            <a:t>Data may change between two reads.</a:t>
          </a:r>
        </a:p>
      </dgm:t>
    </dgm:pt>
    <dgm:pt modelId="{BA1DC8FB-8B3E-4509-8399-4572DE4E8E18}" type="parTrans" cxnId="{1B907D03-9A9A-41C5-9ABA-7921CF9108BC}">
      <dgm:prSet/>
      <dgm:spPr/>
      <dgm:t>
        <a:bodyPr/>
        <a:lstStyle/>
        <a:p>
          <a:endParaRPr lang="en-US"/>
        </a:p>
      </dgm:t>
    </dgm:pt>
    <dgm:pt modelId="{4D01A864-5F78-4B63-BC89-E2EDE4829D9E}" type="sibTrans" cxnId="{1B907D03-9A9A-41C5-9ABA-7921CF9108BC}">
      <dgm:prSet/>
      <dgm:spPr/>
      <dgm:t>
        <a:bodyPr/>
        <a:lstStyle/>
        <a:p>
          <a:endParaRPr lang="en-US"/>
        </a:p>
      </dgm:t>
    </dgm:pt>
    <dgm:pt modelId="{CE5E264B-80AD-44F9-A1E4-53CFBB7F9390}">
      <dgm:prSet/>
      <dgm:spPr/>
      <dgm:t>
        <a:bodyPr/>
        <a:lstStyle/>
        <a:p>
          <a:r>
            <a:rPr lang="en-US"/>
            <a:t>If you execute a SELECT twice within a single transaction, the values returned may differ as other processes could have modify data between SELECTs.</a:t>
          </a:r>
        </a:p>
      </dgm:t>
    </dgm:pt>
    <dgm:pt modelId="{0DCFAC98-B011-4FB9-9F5D-8AD10C0A92AE}" type="parTrans" cxnId="{25DCC5F5-75E9-4591-94AD-EBCD29D89C44}">
      <dgm:prSet/>
      <dgm:spPr/>
      <dgm:t>
        <a:bodyPr/>
        <a:lstStyle/>
        <a:p>
          <a:endParaRPr lang="en-US"/>
        </a:p>
      </dgm:t>
    </dgm:pt>
    <dgm:pt modelId="{6E190999-2EF7-4F2E-95DA-4560616EA895}" type="sibTrans" cxnId="{25DCC5F5-75E9-4591-94AD-EBCD29D89C44}">
      <dgm:prSet/>
      <dgm:spPr/>
      <dgm:t>
        <a:bodyPr/>
        <a:lstStyle/>
        <a:p>
          <a:endParaRPr lang="en-US"/>
        </a:p>
      </dgm:t>
    </dgm:pt>
    <dgm:pt modelId="{DC505DD8-9B20-47D5-BF4A-A1BD7F81BBEB}">
      <dgm:prSet/>
      <dgm:spPr/>
      <dgm:t>
        <a:bodyPr/>
        <a:lstStyle/>
        <a:p>
          <a:r>
            <a:rPr lang="en-US"/>
            <a:t>Phantom Read</a:t>
          </a:r>
        </a:p>
      </dgm:t>
    </dgm:pt>
    <dgm:pt modelId="{2499C398-9468-481C-8FB4-BDB0DFC85FE9}" type="parTrans" cxnId="{D366274A-2754-4C87-A622-15D4237A6DA8}">
      <dgm:prSet/>
      <dgm:spPr/>
      <dgm:t>
        <a:bodyPr/>
        <a:lstStyle/>
        <a:p>
          <a:endParaRPr lang="en-US"/>
        </a:p>
      </dgm:t>
    </dgm:pt>
    <dgm:pt modelId="{D82524E7-BE99-4D7F-9194-51A10C9F3C2C}" type="sibTrans" cxnId="{D366274A-2754-4C87-A622-15D4237A6DA8}">
      <dgm:prSet/>
      <dgm:spPr/>
      <dgm:t>
        <a:bodyPr/>
        <a:lstStyle/>
        <a:p>
          <a:endParaRPr lang="en-US"/>
        </a:p>
      </dgm:t>
    </dgm:pt>
    <dgm:pt modelId="{ECB1C531-E867-4F89-90F2-AA45E1F420EF}">
      <dgm:prSet/>
      <dgm:spPr/>
      <dgm:t>
        <a:bodyPr/>
        <a:lstStyle/>
        <a:p>
          <a:r>
            <a:rPr lang="en-US"/>
            <a:t>If a range query is repeated within a single transaction, it may return additional rows not present in the first results.</a:t>
          </a:r>
        </a:p>
      </dgm:t>
    </dgm:pt>
    <dgm:pt modelId="{5D52A349-FAD3-4AD2-9858-73CF6D6ECBC1}" type="parTrans" cxnId="{D53DF8B1-8FCF-46A8-8A77-7128C4AB256A}">
      <dgm:prSet/>
      <dgm:spPr/>
      <dgm:t>
        <a:bodyPr/>
        <a:lstStyle/>
        <a:p>
          <a:endParaRPr lang="en-US"/>
        </a:p>
      </dgm:t>
    </dgm:pt>
    <dgm:pt modelId="{7F03FA40-3D3E-498F-8B1D-D736904AEE29}" type="sibTrans" cxnId="{D53DF8B1-8FCF-46A8-8A77-7128C4AB256A}">
      <dgm:prSet/>
      <dgm:spPr/>
      <dgm:t>
        <a:bodyPr/>
        <a:lstStyle/>
        <a:p>
          <a:endParaRPr lang="en-US"/>
        </a:p>
      </dgm:t>
    </dgm:pt>
    <dgm:pt modelId="{ED203C89-21FF-4687-98A0-B9E292D7CDCD}">
      <dgm:prSet/>
      <dgm:spPr/>
      <dgm:t>
        <a:bodyPr/>
        <a:lstStyle/>
        <a:p>
          <a:r>
            <a:rPr lang="en-US"/>
            <a:t>It’s still possible that another session can insert rows that belongs to the range of the initial select. </a:t>
          </a:r>
        </a:p>
      </dgm:t>
    </dgm:pt>
    <dgm:pt modelId="{ACADB785-3EBD-468B-B123-6D802057565C}" type="parTrans" cxnId="{7D9BB9A2-91E6-4AC2-BBF8-92D2B238C1A9}">
      <dgm:prSet/>
      <dgm:spPr/>
      <dgm:t>
        <a:bodyPr/>
        <a:lstStyle/>
        <a:p>
          <a:endParaRPr lang="en-US"/>
        </a:p>
      </dgm:t>
    </dgm:pt>
    <dgm:pt modelId="{6911DF90-9B19-43F0-AF5F-EE0AAC158A4A}" type="sibTrans" cxnId="{7D9BB9A2-91E6-4AC2-BBF8-92D2B238C1A9}">
      <dgm:prSet/>
      <dgm:spPr/>
      <dgm:t>
        <a:bodyPr/>
        <a:lstStyle/>
        <a:p>
          <a:endParaRPr lang="en-US"/>
        </a:p>
      </dgm:t>
    </dgm:pt>
    <dgm:pt modelId="{318AEEB3-AE0E-4096-A469-F44DBEDEE986}">
      <dgm:prSet/>
      <dgm:spPr/>
      <dgm:t>
        <a:bodyPr/>
        <a:lstStyle/>
        <a:p>
          <a:pPr>
            <a:buFont typeface="Arial" panose="020B0604020202020204" pitchFamily="34" charset="0"/>
            <a:buChar char="•"/>
          </a:pPr>
          <a:r>
            <a:rPr lang="en-US" dirty="0"/>
            <a:t>Lost Update:</a:t>
          </a:r>
        </a:p>
      </dgm:t>
    </dgm:pt>
    <dgm:pt modelId="{96112657-E380-4EDF-A2BD-4F0D49A53FA1}" type="parTrans" cxnId="{C439244F-7F33-488E-93E1-E34E49928A06}">
      <dgm:prSet/>
      <dgm:spPr/>
      <dgm:t>
        <a:bodyPr/>
        <a:lstStyle/>
        <a:p>
          <a:endParaRPr lang="en-US"/>
        </a:p>
      </dgm:t>
    </dgm:pt>
    <dgm:pt modelId="{D2AE7A8F-AB49-4FEC-AEC4-811900BE0212}" type="sibTrans" cxnId="{C439244F-7F33-488E-93E1-E34E49928A06}">
      <dgm:prSet/>
      <dgm:spPr/>
      <dgm:t>
        <a:bodyPr/>
        <a:lstStyle/>
        <a:p>
          <a:endParaRPr lang="en-US"/>
        </a:p>
      </dgm:t>
    </dgm:pt>
    <dgm:pt modelId="{C2698D74-AB7E-4C5E-B0BB-2B7F73EC0F8E}">
      <dgm:prSet/>
      <dgm:spPr/>
      <dgm:t>
        <a:bodyPr/>
        <a:lstStyle/>
        <a:p>
          <a:pPr>
            <a:buFont typeface="Arial" panose="020B0604020202020204" pitchFamily="34" charset="0"/>
            <a:buChar char="•"/>
          </a:pPr>
          <a:r>
            <a:rPr lang="en-US" dirty="0"/>
            <a:t>Problem occurs when there are two transactions are unaware of each other. </a:t>
          </a:r>
        </a:p>
      </dgm:t>
    </dgm:pt>
    <dgm:pt modelId="{1DA22402-18ED-4435-BBBC-CB220F85C1F1}" type="parTrans" cxnId="{4088A1BB-F529-4403-A670-2859142D7240}">
      <dgm:prSet/>
      <dgm:spPr/>
      <dgm:t>
        <a:bodyPr/>
        <a:lstStyle/>
        <a:p>
          <a:endParaRPr lang="en-US"/>
        </a:p>
      </dgm:t>
    </dgm:pt>
    <dgm:pt modelId="{4820BD0D-40E4-4A6F-8E1D-A13293BFE7B0}" type="sibTrans" cxnId="{4088A1BB-F529-4403-A670-2859142D7240}">
      <dgm:prSet/>
      <dgm:spPr/>
      <dgm:t>
        <a:bodyPr/>
        <a:lstStyle/>
        <a:p>
          <a:endParaRPr lang="en-US"/>
        </a:p>
      </dgm:t>
    </dgm:pt>
    <dgm:pt modelId="{8E553809-A0C2-478D-B5C7-8B417F9CD768}">
      <dgm:prSet/>
      <dgm:spPr/>
      <dgm:t>
        <a:bodyPr/>
        <a:lstStyle/>
        <a:p>
          <a:pPr>
            <a:buFont typeface="Arial" panose="020B0604020202020204" pitchFamily="34" charset="0"/>
            <a:buChar char="•"/>
          </a:pPr>
          <a:r>
            <a:rPr lang="en-US" dirty="0"/>
            <a:t>Later transaction overwrites the earlier update..</a:t>
          </a:r>
        </a:p>
      </dgm:t>
    </dgm:pt>
    <dgm:pt modelId="{0D80F5E7-3983-4003-91C3-88B19597595C}" type="parTrans" cxnId="{751AC3EB-180B-4FCE-85C2-D004956D0C07}">
      <dgm:prSet/>
      <dgm:spPr/>
      <dgm:t>
        <a:bodyPr/>
        <a:lstStyle/>
        <a:p>
          <a:endParaRPr lang="en-US"/>
        </a:p>
      </dgm:t>
    </dgm:pt>
    <dgm:pt modelId="{764F6B83-A0C5-4641-A7B6-A7E601C71708}" type="sibTrans" cxnId="{751AC3EB-180B-4FCE-85C2-D004956D0C07}">
      <dgm:prSet/>
      <dgm:spPr/>
      <dgm:t>
        <a:bodyPr/>
        <a:lstStyle/>
        <a:p>
          <a:endParaRPr lang="en-US"/>
        </a:p>
      </dgm:t>
    </dgm:pt>
    <dgm:pt modelId="{529499F5-4201-463E-AF20-F6408E93AC18}" type="pres">
      <dgm:prSet presAssocID="{8DEB1719-8B3F-4B5F-9074-81D299B43D74}" presName="Name0" presStyleCnt="0">
        <dgm:presLayoutVars>
          <dgm:dir/>
          <dgm:animLvl val="lvl"/>
          <dgm:resizeHandles val="exact"/>
        </dgm:presLayoutVars>
      </dgm:prSet>
      <dgm:spPr/>
    </dgm:pt>
    <dgm:pt modelId="{173613A6-6F0E-4270-8C0A-8197280F4463}" type="pres">
      <dgm:prSet presAssocID="{08316EB2-E1D7-4804-B358-6DA300609FE9}" presName="composite" presStyleCnt="0"/>
      <dgm:spPr/>
    </dgm:pt>
    <dgm:pt modelId="{9A914EE9-8CEA-4FE1-A282-E52D09F41CB2}" type="pres">
      <dgm:prSet presAssocID="{08316EB2-E1D7-4804-B358-6DA300609FE9}" presName="parTx" presStyleLbl="alignNode1" presStyleIdx="0" presStyleCnt="4">
        <dgm:presLayoutVars>
          <dgm:chMax val="0"/>
          <dgm:chPref val="0"/>
          <dgm:bulletEnabled val="1"/>
        </dgm:presLayoutVars>
      </dgm:prSet>
      <dgm:spPr/>
    </dgm:pt>
    <dgm:pt modelId="{3700A0C2-E7B5-45CB-85A0-539908F7F0CC}" type="pres">
      <dgm:prSet presAssocID="{08316EB2-E1D7-4804-B358-6DA300609FE9}" presName="desTx" presStyleLbl="alignAccFollowNode1" presStyleIdx="0" presStyleCnt="4">
        <dgm:presLayoutVars>
          <dgm:bulletEnabled val="1"/>
        </dgm:presLayoutVars>
      </dgm:prSet>
      <dgm:spPr/>
    </dgm:pt>
    <dgm:pt modelId="{BACCAC04-4C4D-4DB3-979E-56FD4FC74888}" type="pres">
      <dgm:prSet presAssocID="{D8F4D70C-D78A-4DFE-B664-921F7F0EEEF5}" presName="space" presStyleCnt="0"/>
      <dgm:spPr/>
    </dgm:pt>
    <dgm:pt modelId="{27877491-C329-4131-A91B-47E871BF1B31}" type="pres">
      <dgm:prSet presAssocID="{318AEEB3-AE0E-4096-A469-F44DBEDEE986}" presName="composite" presStyleCnt="0"/>
      <dgm:spPr/>
    </dgm:pt>
    <dgm:pt modelId="{C72747A7-F199-494B-804F-719773B78941}" type="pres">
      <dgm:prSet presAssocID="{318AEEB3-AE0E-4096-A469-F44DBEDEE986}" presName="parTx" presStyleLbl="alignNode1" presStyleIdx="1" presStyleCnt="4">
        <dgm:presLayoutVars>
          <dgm:chMax val="0"/>
          <dgm:chPref val="0"/>
          <dgm:bulletEnabled val="1"/>
        </dgm:presLayoutVars>
      </dgm:prSet>
      <dgm:spPr/>
    </dgm:pt>
    <dgm:pt modelId="{BAAD382C-9902-4641-BDBD-37B317C0E0C6}" type="pres">
      <dgm:prSet presAssocID="{318AEEB3-AE0E-4096-A469-F44DBEDEE986}" presName="desTx" presStyleLbl="alignAccFollowNode1" presStyleIdx="1" presStyleCnt="4">
        <dgm:presLayoutVars>
          <dgm:bulletEnabled val="1"/>
        </dgm:presLayoutVars>
      </dgm:prSet>
      <dgm:spPr/>
    </dgm:pt>
    <dgm:pt modelId="{38560E78-7567-47F6-9CC2-DCB04AD71EE7}" type="pres">
      <dgm:prSet presAssocID="{D2AE7A8F-AB49-4FEC-AEC4-811900BE0212}" presName="space" presStyleCnt="0"/>
      <dgm:spPr/>
    </dgm:pt>
    <dgm:pt modelId="{5195A416-2942-4E8A-BED5-B61579EE7D50}" type="pres">
      <dgm:prSet presAssocID="{B18018F9-4253-4DBD-AFB4-CBA09ECAEE5E}" presName="composite" presStyleCnt="0"/>
      <dgm:spPr/>
    </dgm:pt>
    <dgm:pt modelId="{82670590-9295-4F59-9A04-1DFB9A970D49}" type="pres">
      <dgm:prSet presAssocID="{B18018F9-4253-4DBD-AFB4-CBA09ECAEE5E}" presName="parTx" presStyleLbl="alignNode1" presStyleIdx="2" presStyleCnt="4">
        <dgm:presLayoutVars>
          <dgm:chMax val="0"/>
          <dgm:chPref val="0"/>
          <dgm:bulletEnabled val="1"/>
        </dgm:presLayoutVars>
      </dgm:prSet>
      <dgm:spPr/>
    </dgm:pt>
    <dgm:pt modelId="{959AD79C-2C17-440A-A052-B160D3005D09}" type="pres">
      <dgm:prSet presAssocID="{B18018F9-4253-4DBD-AFB4-CBA09ECAEE5E}" presName="desTx" presStyleLbl="alignAccFollowNode1" presStyleIdx="2" presStyleCnt="4">
        <dgm:presLayoutVars>
          <dgm:bulletEnabled val="1"/>
        </dgm:presLayoutVars>
      </dgm:prSet>
      <dgm:spPr/>
    </dgm:pt>
    <dgm:pt modelId="{C5B9089D-83AF-4A69-A43E-24761F368261}" type="pres">
      <dgm:prSet presAssocID="{B22F3D43-DC35-4731-BC7B-AC12F2CF0B95}" presName="space" presStyleCnt="0"/>
      <dgm:spPr/>
    </dgm:pt>
    <dgm:pt modelId="{3FB3A8A9-D55D-4BB4-8393-A493732A8876}" type="pres">
      <dgm:prSet presAssocID="{DC505DD8-9B20-47D5-BF4A-A1BD7F81BBEB}" presName="composite" presStyleCnt="0"/>
      <dgm:spPr/>
    </dgm:pt>
    <dgm:pt modelId="{8F2B4E14-28F7-4589-BE07-BEDC541B42AD}" type="pres">
      <dgm:prSet presAssocID="{DC505DD8-9B20-47D5-BF4A-A1BD7F81BBEB}" presName="parTx" presStyleLbl="alignNode1" presStyleIdx="3" presStyleCnt="4">
        <dgm:presLayoutVars>
          <dgm:chMax val="0"/>
          <dgm:chPref val="0"/>
          <dgm:bulletEnabled val="1"/>
        </dgm:presLayoutVars>
      </dgm:prSet>
      <dgm:spPr/>
    </dgm:pt>
    <dgm:pt modelId="{66F99EEA-1E0C-45EB-AE45-77B86E8416BB}" type="pres">
      <dgm:prSet presAssocID="{DC505DD8-9B20-47D5-BF4A-A1BD7F81BBEB}" presName="desTx" presStyleLbl="alignAccFollowNode1" presStyleIdx="3" presStyleCnt="4">
        <dgm:presLayoutVars>
          <dgm:bulletEnabled val="1"/>
        </dgm:presLayoutVars>
      </dgm:prSet>
      <dgm:spPr/>
    </dgm:pt>
  </dgm:ptLst>
  <dgm:cxnLst>
    <dgm:cxn modelId="{1B907D03-9A9A-41C5-9ABA-7921CF9108BC}" srcId="{B18018F9-4253-4DBD-AFB4-CBA09ECAEE5E}" destId="{3D563F8E-1150-4C27-A5C8-C86602728644}" srcOrd="0" destOrd="0" parTransId="{BA1DC8FB-8B3E-4509-8399-4572DE4E8E18}" sibTransId="{4D01A864-5F78-4B63-BC89-E2EDE4829D9E}"/>
    <dgm:cxn modelId="{D1493F0B-F101-4073-9068-02C8B92BA33A}" type="presOf" srcId="{ED203C89-21FF-4687-98A0-B9E292D7CDCD}" destId="{66F99EEA-1E0C-45EB-AE45-77B86E8416BB}" srcOrd="0" destOrd="1" presId="urn:microsoft.com/office/officeart/2005/8/layout/hList1"/>
    <dgm:cxn modelId="{20171814-BF35-4216-A45D-00114B0C999A}" type="presOf" srcId="{1271580C-D261-42DC-9E54-91A2352EF24E}" destId="{3700A0C2-E7B5-45CB-85A0-539908F7F0CC}" srcOrd="0" destOrd="0" presId="urn:microsoft.com/office/officeart/2005/8/layout/hList1"/>
    <dgm:cxn modelId="{5BDB0319-9343-40F1-B691-CAB08879F191}" type="presOf" srcId="{08316EB2-E1D7-4804-B358-6DA300609FE9}" destId="{9A914EE9-8CEA-4FE1-A282-E52D09F41CB2}" srcOrd="0" destOrd="0" presId="urn:microsoft.com/office/officeart/2005/8/layout/hList1"/>
    <dgm:cxn modelId="{F0207828-BDC5-4C09-A709-AE47F5714DFC}" type="presOf" srcId="{318AEEB3-AE0E-4096-A469-F44DBEDEE986}" destId="{C72747A7-F199-494B-804F-719773B78941}" srcOrd="0" destOrd="0" presId="urn:microsoft.com/office/officeart/2005/8/layout/hList1"/>
    <dgm:cxn modelId="{0424B743-3E24-4D2E-B851-15928C305BAD}" type="presOf" srcId="{8E553809-A0C2-478D-B5C7-8B417F9CD768}" destId="{BAAD382C-9902-4641-BDBD-37B317C0E0C6}" srcOrd="0" destOrd="1" presId="urn:microsoft.com/office/officeart/2005/8/layout/hList1"/>
    <dgm:cxn modelId="{D366274A-2754-4C87-A622-15D4237A6DA8}" srcId="{8DEB1719-8B3F-4B5F-9074-81D299B43D74}" destId="{DC505DD8-9B20-47D5-BF4A-A1BD7F81BBEB}" srcOrd="3" destOrd="0" parTransId="{2499C398-9468-481C-8FB4-BDB0DFC85FE9}" sibTransId="{D82524E7-BE99-4D7F-9194-51A10C9F3C2C}"/>
    <dgm:cxn modelId="{4EBB556C-8D2D-4BAA-B905-61AA23D4D2DC}" type="presOf" srcId="{C2698D74-AB7E-4C5E-B0BB-2B7F73EC0F8E}" destId="{BAAD382C-9902-4641-BDBD-37B317C0E0C6}" srcOrd="0" destOrd="0" presId="urn:microsoft.com/office/officeart/2005/8/layout/hList1"/>
    <dgm:cxn modelId="{9242906E-2B54-4122-AE6E-2D398C48F5C8}" type="presOf" srcId="{8DEB1719-8B3F-4B5F-9074-81D299B43D74}" destId="{529499F5-4201-463E-AF20-F6408E93AC18}" srcOrd="0" destOrd="0" presId="urn:microsoft.com/office/officeart/2005/8/layout/hList1"/>
    <dgm:cxn modelId="{C439244F-7F33-488E-93E1-E34E49928A06}" srcId="{8DEB1719-8B3F-4B5F-9074-81D299B43D74}" destId="{318AEEB3-AE0E-4096-A469-F44DBEDEE986}" srcOrd="1" destOrd="0" parTransId="{96112657-E380-4EDF-A2BD-4F0D49A53FA1}" sibTransId="{D2AE7A8F-AB49-4FEC-AEC4-811900BE0212}"/>
    <dgm:cxn modelId="{D4DC9775-D6E9-4FD0-A68E-93323F1C9A49}" srcId="{08316EB2-E1D7-4804-B358-6DA300609FE9}" destId="{1271580C-D261-42DC-9E54-91A2352EF24E}" srcOrd="0" destOrd="0" parTransId="{C253F0E8-740D-4344-AB71-B720DF9796C7}" sibTransId="{60FF7FB4-C8D2-4C62-BAC7-F04DEB77653D}"/>
    <dgm:cxn modelId="{52D07A82-64D3-46C4-A736-6102CFD3686B}" type="presOf" srcId="{DC505DD8-9B20-47D5-BF4A-A1BD7F81BBEB}" destId="{8F2B4E14-28F7-4589-BE07-BEDC541B42AD}" srcOrd="0" destOrd="0" presId="urn:microsoft.com/office/officeart/2005/8/layout/hList1"/>
    <dgm:cxn modelId="{CB582194-D148-4533-9D9E-3A2B8D527F5A}" type="presOf" srcId="{ECB1C531-E867-4F89-90F2-AA45E1F420EF}" destId="{66F99EEA-1E0C-45EB-AE45-77B86E8416BB}" srcOrd="0" destOrd="0" presId="urn:microsoft.com/office/officeart/2005/8/layout/hList1"/>
    <dgm:cxn modelId="{09F0BEA0-3528-47B7-A0D2-3A8CBB098E56}" type="presOf" srcId="{CE5E264B-80AD-44F9-A1E4-53CFBB7F9390}" destId="{959AD79C-2C17-440A-A052-B160D3005D09}" srcOrd="0" destOrd="1" presId="urn:microsoft.com/office/officeart/2005/8/layout/hList1"/>
    <dgm:cxn modelId="{7D9BB9A2-91E6-4AC2-BBF8-92D2B238C1A9}" srcId="{DC505DD8-9B20-47D5-BF4A-A1BD7F81BBEB}" destId="{ED203C89-21FF-4687-98A0-B9E292D7CDCD}" srcOrd="1" destOrd="0" parTransId="{ACADB785-3EBD-468B-B123-6D802057565C}" sibTransId="{6911DF90-9B19-43F0-AF5F-EE0AAC158A4A}"/>
    <dgm:cxn modelId="{D53DF8B1-8FCF-46A8-8A77-7128C4AB256A}" srcId="{DC505DD8-9B20-47D5-BF4A-A1BD7F81BBEB}" destId="{ECB1C531-E867-4F89-90F2-AA45E1F420EF}" srcOrd="0" destOrd="0" parTransId="{5D52A349-FAD3-4AD2-9858-73CF6D6ECBC1}" sibTransId="{7F03FA40-3D3E-498F-8B1D-D736904AEE29}"/>
    <dgm:cxn modelId="{4088A1BB-F529-4403-A670-2859142D7240}" srcId="{318AEEB3-AE0E-4096-A469-F44DBEDEE986}" destId="{C2698D74-AB7E-4C5E-B0BB-2B7F73EC0F8E}" srcOrd="0" destOrd="0" parTransId="{1DA22402-18ED-4435-BBBC-CB220F85C1F1}" sibTransId="{4820BD0D-40E4-4A6F-8E1D-A13293BFE7B0}"/>
    <dgm:cxn modelId="{72D7F6CF-5053-4F6F-8ECD-6AE3FE9BFED2}" type="presOf" srcId="{3D563F8E-1150-4C27-A5C8-C86602728644}" destId="{959AD79C-2C17-440A-A052-B160D3005D09}" srcOrd="0" destOrd="0" presId="urn:microsoft.com/office/officeart/2005/8/layout/hList1"/>
    <dgm:cxn modelId="{D4B1C2D2-A3F3-477D-BEE1-1F3474E61931}" type="presOf" srcId="{B18018F9-4253-4DBD-AFB4-CBA09ECAEE5E}" destId="{82670590-9295-4F59-9A04-1DFB9A970D49}" srcOrd="0" destOrd="0" presId="urn:microsoft.com/office/officeart/2005/8/layout/hList1"/>
    <dgm:cxn modelId="{0E5A49DB-91C4-41B2-BCB3-A3BBF6FB24D3}" srcId="{8DEB1719-8B3F-4B5F-9074-81D299B43D74}" destId="{B18018F9-4253-4DBD-AFB4-CBA09ECAEE5E}" srcOrd="2" destOrd="0" parTransId="{1B8B9466-5311-4A33-BB81-7F2F3614ACBD}" sibTransId="{B22F3D43-DC35-4731-BC7B-AC12F2CF0B95}"/>
    <dgm:cxn modelId="{B86083E4-4417-4C2D-9FCD-852A9B96A88C}" srcId="{8DEB1719-8B3F-4B5F-9074-81D299B43D74}" destId="{08316EB2-E1D7-4804-B358-6DA300609FE9}" srcOrd="0" destOrd="0" parTransId="{EA39641F-51D8-443F-B6D1-6A4C5F39E014}" sibTransId="{D8F4D70C-D78A-4DFE-B664-921F7F0EEEF5}"/>
    <dgm:cxn modelId="{751AC3EB-180B-4FCE-85C2-D004956D0C07}" srcId="{318AEEB3-AE0E-4096-A469-F44DBEDEE986}" destId="{8E553809-A0C2-478D-B5C7-8B417F9CD768}" srcOrd="1" destOrd="0" parTransId="{0D80F5E7-3983-4003-91C3-88B19597595C}" sibTransId="{764F6B83-A0C5-4641-A7B6-A7E601C71708}"/>
    <dgm:cxn modelId="{25DCC5F5-75E9-4591-94AD-EBCD29D89C44}" srcId="{B18018F9-4253-4DBD-AFB4-CBA09ECAEE5E}" destId="{CE5E264B-80AD-44F9-A1E4-53CFBB7F9390}" srcOrd="1" destOrd="0" parTransId="{0DCFAC98-B011-4FB9-9F5D-8AD10C0A92AE}" sibTransId="{6E190999-2EF7-4F2E-95DA-4560616EA895}"/>
    <dgm:cxn modelId="{9E6119F1-49AA-4AAB-9EA7-00E009BBB7CE}" type="presParOf" srcId="{529499F5-4201-463E-AF20-F6408E93AC18}" destId="{173613A6-6F0E-4270-8C0A-8197280F4463}" srcOrd="0" destOrd="0" presId="urn:microsoft.com/office/officeart/2005/8/layout/hList1"/>
    <dgm:cxn modelId="{EBDE72AA-6595-4F22-A044-0239B616964E}" type="presParOf" srcId="{173613A6-6F0E-4270-8C0A-8197280F4463}" destId="{9A914EE9-8CEA-4FE1-A282-E52D09F41CB2}" srcOrd="0" destOrd="0" presId="urn:microsoft.com/office/officeart/2005/8/layout/hList1"/>
    <dgm:cxn modelId="{EAE561B6-02AD-4223-92C9-32968142D335}" type="presParOf" srcId="{173613A6-6F0E-4270-8C0A-8197280F4463}" destId="{3700A0C2-E7B5-45CB-85A0-539908F7F0CC}" srcOrd="1" destOrd="0" presId="urn:microsoft.com/office/officeart/2005/8/layout/hList1"/>
    <dgm:cxn modelId="{416EADD9-D9CE-4AC0-8ADE-AA17C7951CB6}" type="presParOf" srcId="{529499F5-4201-463E-AF20-F6408E93AC18}" destId="{BACCAC04-4C4D-4DB3-979E-56FD4FC74888}" srcOrd="1" destOrd="0" presId="urn:microsoft.com/office/officeart/2005/8/layout/hList1"/>
    <dgm:cxn modelId="{DAE1A381-1706-4E11-B1A8-DCB34B81F3E0}" type="presParOf" srcId="{529499F5-4201-463E-AF20-F6408E93AC18}" destId="{27877491-C329-4131-A91B-47E871BF1B31}" srcOrd="2" destOrd="0" presId="urn:microsoft.com/office/officeart/2005/8/layout/hList1"/>
    <dgm:cxn modelId="{204AC474-0E01-4413-A6AF-B6973B825FB9}" type="presParOf" srcId="{27877491-C329-4131-A91B-47E871BF1B31}" destId="{C72747A7-F199-494B-804F-719773B78941}" srcOrd="0" destOrd="0" presId="urn:microsoft.com/office/officeart/2005/8/layout/hList1"/>
    <dgm:cxn modelId="{3B2394B8-042C-47E8-9061-0BE61103C151}" type="presParOf" srcId="{27877491-C329-4131-A91B-47E871BF1B31}" destId="{BAAD382C-9902-4641-BDBD-37B317C0E0C6}" srcOrd="1" destOrd="0" presId="urn:microsoft.com/office/officeart/2005/8/layout/hList1"/>
    <dgm:cxn modelId="{6C0CE714-4A06-4B24-B450-3CD856CEB05E}" type="presParOf" srcId="{529499F5-4201-463E-AF20-F6408E93AC18}" destId="{38560E78-7567-47F6-9CC2-DCB04AD71EE7}" srcOrd="3" destOrd="0" presId="urn:microsoft.com/office/officeart/2005/8/layout/hList1"/>
    <dgm:cxn modelId="{8716E04F-4D5B-461A-A826-28C10566B26D}" type="presParOf" srcId="{529499F5-4201-463E-AF20-F6408E93AC18}" destId="{5195A416-2942-4E8A-BED5-B61579EE7D50}" srcOrd="4" destOrd="0" presId="urn:microsoft.com/office/officeart/2005/8/layout/hList1"/>
    <dgm:cxn modelId="{DD0C5B45-2058-4733-97A0-00CC915341FF}" type="presParOf" srcId="{5195A416-2942-4E8A-BED5-B61579EE7D50}" destId="{82670590-9295-4F59-9A04-1DFB9A970D49}" srcOrd="0" destOrd="0" presId="urn:microsoft.com/office/officeart/2005/8/layout/hList1"/>
    <dgm:cxn modelId="{0C2A1AE4-7A0C-41EB-848D-023033222471}" type="presParOf" srcId="{5195A416-2942-4E8A-BED5-B61579EE7D50}" destId="{959AD79C-2C17-440A-A052-B160D3005D09}" srcOrd="1" destOrd="0" presId="urn:microsoft.com/office/officeart/2005/8/layout/hList1"/>
    <dgm:cxn modelId="{33B6F4F4-2903-4130-A452-76F6480235BE}" type="presParOf" srcId="{529499F5-4201-463E-AF20-F6408E93AC18}" destId="{C5B9089D-83AF-4A69-A43E-24761F368261}" srcOrd="5" destOrd="0" presId="urn:microsoft.com/office/officeart/2005/8/layout/hList1"/>
    <dgm:cxn modelId="{8AE5D503-FA45-4C80-8AF1-299ABBF8C077}" type="presParOf" srcId="{529499F5-4201-463E-AF20-F6408E93AC18}" destId="{3FB3A8A9-D55D-4BB4-8393-A493732A8876}" srcOrd="6" destOrd="0" presId="urn:microsoft.com/office/officeart/2005/8/layout/hList1"/>
    <dgm:cxn modelId="{07C836C8-EA0E-47E5-8067-B60463571915}" type="presParOf" srcId="{3FB3A8A9-D55D-4BB4-8393-A493732A8876}" destId="{8F2B4E14-28F7-4589-BE07-BEDC541B42AD}" srcOrd="0" destOrd="0" presId="urn:microsoft.com/office/officeart/2005/8/layout/hList1"/>
    <dgm:cxn modelId="{7BD80067-1B7B-494A-AB1A-72FD25633F54}" type="presParOf" srcId="{3FB3A8A9-D55D-4BB4-8393-A493732A8876}" destId="{66F99EEA-1E0C-45EB-AE45-77B86E8416B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491024"/>
          <a:ext cx="3302904" cy="1825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 transaction is a sequence of steps that perform a logical unit of work.</a:t>
          </a:r>
          <a:endParaRPr lang="en-US" sz="2400" kern="1200" dirty="0"/>
        </a:p>
      </dsp:txBody>
      <dsp:txXfrm>
        <a:off x="89099" y="580123"/>
        <a:ext cx="3124706" cy="1647002"/>
      </dsp:txXfrm>
    </dsp:sp>
    <dsp:sp modelId="{264F40D0-A7D0-460C-8850-834FB3F3E3EF}">
      <dsp:nvSpPr>
        <dsp:cNvPr id="0" name=""/>
        <dsp:cNvSpPr/>
      </dsp:nvSpPr>
      <dsp:spPr>
        <a:xfrm>
          <a:off x="0" y="2503424"/>
          <a:ext cx="3302904" cy="182520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Exhibit ACID properties, to qualify as a transaction.</a:t>
          </a:r>
          <a:endParaRPr lang="en-US" sz="2400" kern="1200" dirty="0"/>
        </a:p>
      </dsp:txBody>
      <dsp:txXfrm>
        <a:off x="89099" y="2592523"/>
        <a:ext cx="3124706" cy="164700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9E001-EF04-4441-A590-BA4F7098EEE9}">
      <dsp:nvSpPr>
        <dsp:cNvPr id="0" name=""/>
        <dsp:cNvSpPr/>
      </dsp:nvSpPr>
      <dsp:spPr>
        <a:xfrm rot="5400000">
          <a:off x="5670043" y="-1320769"/>
          <a:ext cx="3457700"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Pess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This is the default concurrency model in SQL Server</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locks to avoid concurrency problems</a:t>
          </a:r>
          <a:endParaRPr lang="en-US" sz="2400" kern="1200" dirty="0"/>
        </a:p>
        <a:p>
          <a:pPr marL="228600" lvl="1" indent="-228600" algn="l" defTabSz="1066800">
            <a:lnSpc>
              <a:spcPct val="90000"/>
            </a:lnSpc>
            <a:spcBef>
              <a:spcPct val="0"/>
            </a:spcBef>
            <a:spcAft>
              <a:spcPct val="15000"/>
            </a:spcAft>
            <a:buChar char="•"/>
          </a:pPr>
          <a:r>
            <a:rPr lang="en-US" sz="2400" kern="1200" baseline="0" dirty="0"/>
            <a:t>Optimistic concurrency</a:t>
          </a:r>
          <a:endParaRPr lang="en-US" sz="2400" kern="1200" dirty="0"/>
        </a:p>
        <a:p>
          <a:pPr marL="457200" lvl="2" indent="-228600" algn="l" defTabSz="1066800">
            <a:lnSpc>
              <a:spcPct val="90000"/>
            </a:lnSpc>
            <a:spcBef>
              <a:spcPct val="0"/>
            </a:spcBef>
            <a:spcAft>
              <a:spcPct val="15000"/>
            </a:spcAft>
            <a:buChar char="•"/>
          </a:pPr>
          <a:r>
            <a:rPr lang="en-US" sz="2400" kern="1200" baseline="0" dirty="0"/>
            <a:t>Uses row versions to support concurrency</a:t>
          </a:r>
          <a:endParaRPr lang="en-US" sz="2400" kern="1200" dirty="0"/>
        </a:p>
      </dsp:txBody>
      <dsp:txXfrm rot="-5400000">
        <a:off x="3917062" y="601003"/>
        <a:ext cx="6794873" cy="3120118"/>
      </dsp:txXfrm>
    </dsp:sp>
    <dsp:sp modelId="{3498B1E1-3987-4819-AB5F-60DA57A10CC0}">
      <dsp:nvSpPr>
        <dsp:cNvPr id="0" name=""/>
        <dsp:cNvSpPr/>
      </dsp:nvSpPr>
      <dsp:spPr>
        <a:xfrm>
          <a:off x="0" y="0"/>
          <a:ext cx="3917061" cy="4322126"/>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upport for  two concurrency models</a:t>
          </a:r>
          <a:endParaRPr lang="en-US" sz="2400" kern="1200" dirty="0"/>
        </a:p>
      </dsp:txBody>
      <dsp:txXfrm>
        <a:off x="191215" y="191215"/>
        <a:ext cx="3534631" cy="39396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83"/>
          <a:ext cx="10880725"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isolation level?</a:t>
          </a:r>
          <a:endParaRPr lang="en-US" sz="2400" b="0" kern="1200" dirty="0"/>
        </a:p>
      </dsp:txBody>
      <dsp:txXfrm>
        <a:off x="46606" y="49589"/>
        <a:ext cx="10787513" cy="861508"/>
      </dsp:txXfrm>
    </dsp:sp>
    <dsp:sp modelId="{0E5177C7-801D-471B-9850-4FD8DFBC4036}">
      <dsp:nvSpPr>
        <dsp:cNvPr id="0" name=""/>
        <dsp:cNvSpPr/>
      </dsp:nvSpPr>
      <dsp:spPr>
        <a:xfrm>
          <a:off x="0" y="1104583"/>
          <a:ext cx="10880725" cy="9547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olation levels can be set at the database level?</a:t>
          </a:r>
          <a:endParaRPr lang="en-US" sz="2400" b="0" kern="1200" dirty="0">
            <a:latin typeface="Segoe UI Light" panose="020B0502040204020203" pitchFamily="34" charset="0"/>
            <a:ea typeface="+mn-ea"/>
            <a:cs typeface="Segoe UI Light" panose="020B0502040204020203" pitchFamily="34" charset="0"/>
          </a:endParaRPr>
        </a:p>
      </dsp:txBody>
      <dsp:txXfrm>
        <a:off x="46606" y="1151189"/>
        <a:ext cx="10787513" cy="861508"/>
      </dsp:txXfrm>
    </dsp:sp>
    <dsp:sp modelId="{7223E95E-2C59-4685-B725-F9F0CE73B562}">
      <dsp:nvSpPr>
        <dsp:cNvPr id="0" name=""/>
        <dsp:cNvSpPr/>
      </dsp:nvSpPr>
      <dsp:spPr>
        <a:xfrm>
          <a:off x="0" y="2206183"/>
          <a:ext cx="10880725" cy="9547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ould be the impact of using the </a:t>
          </a:r>
          <a:r>
            <a:rPr lang="en-US" sz="2400" kern="1200" dirty="0" err="1"/>
            <a:t>sys.dm_tran_version_store</a:t>
          </a:r>
          <a:r>
            <a:rPr lang="en-US" sz="2400" kern="1200" dirty="0"/>
            <a:t> DMV?</a:t>
          </a:r>
          <a:endParaRPr lang="en-US" sz="2400" b="0" kern="1200" dirty="0">
            <a:latin typeface="Segoe UI Light" panose="020B0502040204020203" pitchFamily="34" charset="0"/>
            <a:ea typeface="+mn-ea"/>
            <a:cs typeface="Segoe UI Light" panose="020B0502040204020203" pitchFamily="34" charset="0"/>
          </a:endParaRPr>
        </a:p>
      </dsp:txBody>
      <dsp:txXfrm>
        <a:off x="46606" y="2252789"/>
        <a:ext cx="10787513" cy="86150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C8C96-72E1-4846-8803-5D6F568C9E28}">
      <dsp:nvSpPr>
        <dsp:cNvPr id="0" name=""/>
        <dsp:cNvSpPr/>
      </dsp:nvSpPr>
      <dsp:spPr>
        <a:xfrm>
          <a:off x="0" y="16184"/>
          <a:ext cx="10774361" cy="114192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mn-lt"/>
              <a:ea typeface="+mn-ea"/>
              <a:cs typeface="+mn-cs"/>
            </a:rPr>
            <a:t>SQL Server </a:t>
          </a:r>
          <a:r>
            <a:rPr lang="en-US" sz="2000" kern="1200" baseline="0">
              <a:latin typeface="+mn-lt"/>
            </a:rPr>
            <a:t>uses intent locks to protect parent-level object in the hierarchy by placing an intent shared (IS) or Intent exclusive (IX) lock.</a:t>
          </a:r>
          <a:endParaRPr lang="en-US" sz="2000" kern="1200" dirty="0">
            <a:latin typeface="+mn-lt"/>
          </a:endParaRPr>
        </a:p>
      </dsp:txBody>
      <dsp:txXfrm>
        <a:off x="55744" y="71928"/>
        <a:ext cx="10662873" cy="1030432"/>
      </dsp:txXfrm>
    </dsp:sp>
    <dsp:sp modelId="{16833076-334A-4EC5-88C0-91D97767C4ED}">
      <dsp:nvSpPr>
        <dsp:cNvPr id="0" name=""/>
        <dsp:cNvSpPr/>
      </dsp:nvSpPr>
      <dsp:spPr>
        <a:xfrm>
          <a:off x="0" y="1333784"/>
          <a:ext cx="10774361" cy="1141920"/>
        </a:xfrm>
        <a:prstGeom prst="roundRect">
          <a:avLst/>
        </a:prstGeom>
        <a:solidFill>
          <a:schemeClr val="accent2">
            <a:shade val="80000"/>
            <a:hueOff val="192020"/>
            <a:satOff val="-19219"/>
            <a:lumOff val="197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are acquired before a lock placed at the lower level.</a:t>
          </a:r>
          <a:endParaRPr lang="en-US" sz="2000" kern="1200" dirty="0">
            <a:latin typeface="+mn-lt"/>
          </a:endParaRPr>
        </a:p>
      </dsp:txBody>
      <dsp:txXfrm>
        <a:off x="55744" y="1389528"/>
        <a:ext cx="10662873" cy="1030432"/>
      </dsp:txXfrm>
    </dsp:sp>
    <dsp:sp modelId="{1B895508-F76C-4513-9FF5-F7E8433ACCED}">
      <dsp:nvSpPr>
        <dsp:cNvPr id="0" name=""/>
        <dsp:cNvSpPr/>
      </dsp:nvSpPr>
      <dsp:spPr>
        <a:xfrm>
          <a:off x="0" y="2651384"/>
          <a:ext cx="10774361" cy="1141920"/>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latin typeface="+mn-lt"/>
            </a:rPr>
            <a:t>Intent locks serve two purposes:</a:t>
          </a:r>
          <a:endParaRPr lang="en-US" sz="2000" kern="1200" dirty="0">
            <a:latin typeface="+mn-lt"/>
          </a:endParaRPr>
        </a:p>
      </dsp:txBody>
      <dsp:txXfrm>
        <a:off x="55744" y="2707128"/>
        <a:ext cx="10662873" cy="1030432"/>
      </dsp:txXfrm>
    </dsp:sp>
    <dsp:sp modelId="{782DD4E8-7036-4ECA-90DD-1355A5ABC6D1}">
      <dsp:nvSpPr>
        <dsp:cNvPr id="0" name=""/>
        <dsp:cNvSpPr/>
      </dsp:nvSpPr>
      <dsp:spPr>
        <a:xfrm>
          <a:off x="0" y="3809490"/>
          <a:ext cx="10774361"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08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Prevent other transactions from modifying parent-level object </a:t>
          </a:r>
          <a:endParaRPr lang="en-US" sz="2400" kern="1200" dirty="0">
            <a:latin typeface="Segoe UI Light" panose="020B0502040204020203" pitchFamily="34" charset="0"/>
          </a:endParaRPr>
        </a:p>
        <a:p>
          <a:pPr marL="228600" lvl="1" indent="-228600" algn="l" defTabSz="1066800">
            <a:lnSpc>
              <a:spcPct val="90000"/>
            </a:lnSpc>
            <a:spcBef>
              <a:spcPct val="0"/>
            </a:spcBef>
            <a:spcAft>
              <a:spcPct val="20000"/>
            </a:spcAft>
            <a:buChar char="•"/>
          </a:pPr>
          <a:r>
            <a:rPr lang="en-US" sz="2400" kern="1200" baseline="0" dirty="0">
              <a:latin typeface="Segoe UI Light" panose="020B0502040204020203" pitchFamily="34" charset="0"/>
            </a:rPr>
            <a:t>Improve the efficiency of the SQL Server Database Engine </a:t>
          </a:r>
          <a:endParaRPr lang="en-US" sz="2400" kern="1200" dirty="0">
            <a:latin typeface="Segoe UI Light" panose="020B0502040204020203" pitchFamily="34" charset="0"/>
          </a:endParaRPr>
        </a:p>
      </dsp:txBody>
      <dsp:txXfrm>
        <a:off x="0" y="3809490"/>
        <a:ext cx="10774361" cy="101016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297981-852E-4CA5-92AF-B43E3E8D32F4}">
      <dsp:nvSpPr>
        <dsp:cNvPr id="0" name=""/>
        <dsp:cNvSpPr/>
      </dsp:nvSpPr>
      <dsp:spPr>
        <a:xfrm>
          <a:off x="0" y="46337"/>
          <a:ext cx="10880725" cy="98053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Row locking is not always the right choice</a:t>
          </a:r>
          <a:endParaRPr lang="en-US" sz="2300" kern="1200" dirty="0"/>
        </a:p>
      </dsp:txBody>
      <dsp:txXfrm>
        <a:off x="47866" y="94203"/>
        <a:ext cx="10784993" cy="884801"/>
      </dsp:txXfrm>
    </dsp:sp>
    <dsp:sp modelId="{CC7C6BDC-1688-4EAE-84EA-B9DD9929A7F9}">
      <dsp:nvSpPr>
        <dsp:cNvPr id="0" name=""/>
        <dsp:cNvSpPr/>
      </dsp:nvSpPr>
      <dsp:spPr>
        <a:xfrm>
          <a:off x="0" y="1026870"/>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Scanning 100 million rows means 100 million calls to the lock manager</a:t>
          </a:r>
          <a:endParaRPr lang="en-US" sz="1800" kern="1200" dirty="0"/>
        </a:p>
      </dsp:txBody>
      <dsp:txXfrm>
        <a:off x="0" y="1026870"/>
        <a:ext cx="10880725" cy="380880"/>
      </dsp:txXfrm>
    </dsp:sp>
    <dsp:sp modelId="{2AB990F1-E284-4231-87D8-8B5F6804C6BE}">
      <dsp:nvSpPr>
        <dsp:cNvPr id="0" name=""/>
        <dsp:cNvSpPr/>
      </dsp:nvSpPr>
      <dsp:spPr>
        <a:xfrm>
          <a:off x="0" y="1407750"/>
          <a:ext cx="10880725" cy="980533"/>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Page, Partition or Table locking can be more efficient</a:t>
          </a:r>
          <a:endParaRPr lang="en-US" sz="2300" kern="1200" dirty="0"/>
        </a:p>
      </dsp:txBody>
      <dsp:txXfrm>
        <a:off x="47866" y="1455616"/>
        <a:ext cx="10784993" cy="884801"/>
      </dsp:txXfrm>
    </dsp:sp>
    <dsp:sp modelId="{288B3E8D-E67E-40D0-B95C-25FDB23C7CC1}">
      <dsp:nvSpPr>
        <dsp:cNvPr id="0" name=""/>
        <dsp:cNvSpPr/>
      </dsp:nvSpPr>
      <dsp:spPr>
        <a:xfrm>
          <a:off x="0" y="23882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One Table lock is cheaper and easier to manage than thousands of Row locks</a:t>
          </a:r>
          <a:endParaRPr lang="en-US" sz="1800" kern="1200" dirty="0"/>
        </a:p>
      </dsp:txBody>
      <dsp:txXfrm>
        <a:off x="0" y="2388284"/>
        <a:ext cx="10880725" cy="380880"/>
      </dsp:txXfrm>
    </dsp:sp>
    <dsp:sp modelId="{8FB2FCDD-C2F9-41FB-A158-D12FB049E0C1}">
      <dsp:nvSpPr>
        <dsp:cNvPr id="0" name=""/>
        <dsp:cNvSpPr/>
      </dsp:nvSpPr>
      <dsp:spPr>
        <a:xfrm>
          <a:off x="0" y="2769164"/>
          <a:ext cx="10880725" cy="980533"/>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SQL Server chooses lock granularity (Row, Page, Table) at run time based on input from the Query Optimizer</a:t>
          </a:r>
          <a:endParaRPr lang="en-US" sz="2300" kern="1200" dirty="0"/>
        </a:p>
      </dsp:txBody>
      <dsp:txXfrm>
        <a:off x="47866" y="2817030"/>
        <a:ext cx="10784993" cy="884801"/>
      </dsp:txXfrm>
    </dsp:sp>
    <dsp:sp modelId="{89425357-B5FE-4689-8276-23C4DEEFA18A}">
      <dsp:nvSpPr>
        <dsp:cNvPr id="0" name=""/>
        <dsp:cNvSpPr/>
      </dsp:nvSpPr>
      <dsp:spPr>
        <a:xfrm>
          <a:off x="0" y="3749697"/>
          <a:ext cx="10880725" cy="10236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baseline="0" dirty="0"/>
            <a:t>Least-expensive method is chosen</a:t>
          </a:r>
          <a:endParaRPr lang="en-US" sz="1800" kern="1200" dirty="0"/>
        </a:p>
        <a:p>
          <a:pPr marL="171450" lvl="1" indent="-171450" algn="l" defTabSz="800100">
            <a:lnSpc>
              <a:spcPct val="90000"/>
            </a:lnSpc>
            <a:spcBef>
              <a:spcPct val="0"/>
            </a:spcBef>
            <a:spcAft>
              <a:spcPct val="20000"/>
            </a:spcAft>
            <a:buChar char="•"/>
          </a:pPr>
          <a:r>
            <a:rPr lang="en-US" sz="1800" kern="1200" baseline="0" dirty="0"/>
            <a:t>Available resources at the time of execution may have an impact</a:t>
          </a:r>
          <a:endParaRPr lang="en-US" sz="1800" kern="1200" dirty="0"/>
        </a:p>
        <a:p>
          <a:pPr marL="171450" lvl="1" indent="-171450" algn="l" defTabSz="800100">
            <a:lnSpc>
              <a:spcPct val="90000"/>
            </a:lnSpc>
            <a:spcBef>
              <a:spcPct val="0"/>
            </a:spcBef>
            <a:spcAft>
              <a:spcPct val="20000"/>
            </a:spcAft>
            <a:buChar char="•"/>
          </a:pPr>
          <a:r>
            <a:rPr lang="en-US" sz="1800" kern="1200" baseline="0" dirty="0"/>
            <a:t>Incorrect estimates could lead to making the wrong choice</a:t>
          </a:r>
          <a:endParaRPr lang="en-US" sz="1800" kern="1200" dirty="0"/>
        </a:p>
      </dsp:txBody>
      <dsp:txXfrm>
        <a:off x="0" y="3749697"/>
        <a:ext cx="10880725" cy="102361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a Lock?</a:t>
          </a:r>
          <a:endParaRPr lang="en-US" sz="2400" b="0" kern="1200" dirty="0"/>
        </a:p>
      </dsp:txBody>
      <dsp:txXfrm>
        <a:off x="33812" y="70635"/>
        <a:ext cx="10813101" cy="625016"/>
      </dsp:txXfrm>
    </dsp:sp>
    <dsp:sp modelId="{4A71D5C7-A7D6-46CE-B888-CF65241F6B98}">
      <dsp:nvSpPr>
        <dsp:cNvPr id="0" name=""/>
        <dsp:cNvSpPr/>
      </dsp:nvSpPr>
      <dsp:spPr>
        <a:xfrm>
          <a:off x="0" y="876276"/>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y is an intent lock acquired?</a:t>
          </a:r>
        </a:p>
      </dsp:txBody>
      <dsp:txXfrm>
        <a:off x="33812" y="910088"/>
        <a:ext cx="10813101" cy="625016"/>
      </dsp:txXfrm>
    </dsp:sp>
    <dsp:sp modelId="{4CE6D622-6C4B-4912-A756-057BDFDF7259}">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cs typeface="Segoe UI Light" panose="020B0502040204020203" pitchFamily="34" charset="0"/>
            </a:rPr>
            <a:t>What is lock escalation and can it be controlled?</a:t>
          </a:r>
        </a:p>
      </dsp:txBody>
      <dsp:txXfrm>
        <a:off x="33812" y="1669035"/>
        <a:ext cx="10813101" cy="625016"/>
      </dsp:txXfrm>
    </dsp:sp>
    <dsp:sp modelId="{0E5177C7-801D-471B-9850-4FD8DFBC4036}">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kern="1200" dirty="0">
              <a:latin typeface="Segoe UI Light" panose="020B0502040204020203" pitchFamily="34" charset="0"/>
              <a:ea typeface="+mn-ea"/>
              <a:cs typeface="Segoe UI Light" panose="020B0502040204020203" pitchFamily="34" charset="0"/>
            </a:rPr>
            <a:t>What are locking hints?</a:t>
          </a:r>
        </a:p>
      </dsp:txBody>
      <dsp:txXfrm>
        <a:off x="33812" y="2468235"/>
        <a:ext cx="10813101" cy="62501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2830A3-079B-4506-8685-DADEEFE79F24}">
      <dsp:nvSpPr>
        <dsp:cNvPr id="0" name=""/>
        <dsp:cNvSpPr/>
      </dsp:nvSpPr>
      <dsp:spPr>
        <a:xfrm>
          <a:off x="0" y="76585"/>
          <a:ext cx="10880723" cy="617759"/>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Log I/O contention is still possible when there is a high degree of concurrency.</a:t>
          </a:r>
        </a:p>
      </dsp:txBody>
      <dsp:txXfrm>
        <a:off x="30157" y="106742"/>
        <a:ext cx="10820409" cy="55744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5D3AE4-8FE2-4D1D-968F-B478A35E0E82}">
      <dsp:nvSpPr>
        <dsp:cNvPr id="0" name=""/>
        <dsp:cNvSpPr/>
      </dsp:nvSpPr>
      <dsp:spPr>
        <a:xfrm>
          <a:off x="0" y="588944"/>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FE0912-FDF8-414C-8219-AED7A43F72C0}">
      <dsp:nvSpPr>
        <dsp:cNvPr id="0" name=""/>
        <dsp:cNvSpPr/>
      </dsp:nvSpPr>
      <dsp:spPr>
        <a:xfrm>
          <a:off x="544036" y="57584"/>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Some data loss can be tolerated.</a:t>
          </a:r>
          <a:endParaRPr lang="en-US" sz="2400" kern="1200" dirty="0"/>
        </a:p>
      </dsp:txBody>
      <dsp:txXfrm>
        <a:off x="595914" y="109462"/>
        <a:ext cx="7512751" cy="958964"/>
      </dsp:txXfrm>
    </dsp:sp>
    <dsp:sp modelId="{6022AF2D-36E0-4BC9-A230-1D289EBA4731}">
      <dsp:nvSpPr>
        <dsp:cNvPr id="0" name=""/>
        <dsp:cNvSpPr/>
      </dsp:nvSpPr>
      <dsp:spPr>
        <a:xfrm>
          <a:off x="0" y="2221905"/>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54DCA3-40B2-4BAA-854C-11406C20BB21}">
      <dsp:nvSpPr>
        <dsp:cNvPr id="0" name=""/>
        <dsp:cNvSpPr/>
      </dsp:nvSpPr>
      <dsp:spPr>
        <a:xfrm>
          <a:off x="544036" y="1690545"/>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log writes is experiencing bottleneck.</a:t>
          </a:r>
          <a:endParaRPr lang="en-US" sz="2400" kern="1200" dirty="0"/>
        </a:p>
      </dsp:txBody>
      <dsp:txXfrm>
        <a:off x="595914" y="1742423"/>
        <a:ext cx="7512751" cy="958964"/>
      </dsp:txXfrm>
    </dsp:sp>
    <dsp:sp modelId="{51743888-4F76-4191-82C5-B7C49B4073DD}">
      <dsp:nvSpPr>
        <dsp:cNvPr id="0" name=""/>
        <dsp:cNvSpPr/>
      </dsp:nvSpPr>
      <dsp:spPr>
        <a:xfrm>
          <a:off x="0" y="3854865"/>
          <a:ext cx="10880725" cy="9072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BAA752E-B853-4A6C-890A-E2258BFC5DE1}">
      <dsp:nvSpPr>
        <dsp:cNvPr id="0" name=""/>
        <dsp:cNvSpPr/>
      </dsp:nvSpPr>
      <dsp:spPr>
        <a:xfrm>
          <a:off x="544036" y="3323505"/>
          <a:ext cx="7616507" cy="10627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Workloads with a high contention rate.</a:t>
          </a:r>
          <a:endParaRPr lang="en-US" sz="2400" kern="1200" dirty="0"/>
        </a:p>
      </dsp:txBody>
      <dsp:txXfrm>
        <a:off x="595914" y="3375383"/>
        <a:ext cx="7512751" cy="95896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CBE05-A621-4161-BB35-FECCE5696F9E}">
      <dsp:nvSpPr>
        <dsp:cNvPr id="0" name=""/>
        <dsp:cNvSpPr/>
      </dsp:nvSpPr>
      <dsp:spPr>
        <a:xfrm>
          <a:off x="1552150" y="2836"/>
          <a:ext cx="3703059" cy="22218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Durability automatically managed by system behind the scenes</a:t>
          </a:r>
          <a:endParaRPr lang="en-US" sz="2300" kern="1200" dirty="0"/>
        </a:p>
      </dsp:txBody>
      <dsp:txXfrm>
        <a:off x="1552150" y="2836"/>
        <a:ext cx="3703059" cy="2221835"/>
      </dsp:txXfrm>
    </dsp:sp>
    <dsp:sp modelId="{0829C59C-6B2E-4700-B8A0-1D2739435FF3}">
      <dsp:nvSpPr>
        <dsp:cNvPr id="0" name=""/>
        <dsp:cNvSpPr/>
      </dsp:nvSpPr>
      <dsp:spPr>
        <a:xfrm>
          <a:off x="5625515" y="2836"/>
          <a:ext cx="3703059" cy="22218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ctr" defTabSz="1022350">
            <a:lnSpc>
              <a:spcPct val="90000"/>
            </a:lnSpc>
            <a:spcBef>
              <a:spcPct val="0"/>
            </a:spcBef>
            <a:spcAft>
              <a:spcPct val="35000"/>
            </a:spcAft>
            <a:buNone/>
          </a:pPr>
          <a:r>
            <a:rPr lang="en-US" sz="2300" kern="1200" baseline="0" dirty="0"/>
            <a:t>Transaction flush is  guaranteed when:</a:t>
          </a:r>
          <a:endParaRPr lang="en-US" sz="2300" kern="1200" dirty="0"/>
        </a:p>
        <a:p>
          <a:pPr marL="171450" lvl="1" indent="-171450" algn="ctr" defTabSz="800100">
            <a:lnSpc>
              <a:spcPct val="90000"/>
            </a:lnSpc>
            <a:spcBef>
              <a:spcPct val="0"/>
            </a:spcBef>
            <a:spcAft>
              <a:spcPct val="15000"/>
            </a:spcAft>
            <a:buChar char="•"/>
          </a:pPr>
          <a:r>
            <a:rPr lang="en-US" sz="1800" kern="1200" baseline="0" dirty="0"/>
            <a:t>A Durable transaction is run</a:t>
          </a:r>
          <a:endParaRPr lang="en-US" sz="1800" kern="1200" dirty="0"/>
        </a:p>
        <a:p>
          <a:pPr marL="171450" lvl="1" indent="-171450" algn="ctr" defTabSz="800100">
            <a:lnSpc>
              <a:spcPct val="90000"/>
            </a:lnSpc>
            <a:spcBef>
              <a:spcPct val="0"/>
            </a:spcBef>
            <a:spcAft>
              <a:spcPct val="15000"/>
            </a:spcAft>
            <a:buChar char="•"/>
          </a:pPr>
          <a:r>
            <a:rPr lang="en-US" sz="1800" kern="1200" baseline="0" dirty="0"/>
            <a:t>By manually running </a:t>
          </a:r>
          <a:r>
            <a:rPr lang="en-US" sz="1800" kern="1200" baseline="0" dirty="0" err="1"/>
            <a:t>sp_flush_log</a:t>
          </a:r>
          <a:endParaRPr lang="en-US" sz="1800" kern="1200" dirty="0"/>
        </a:p>
        <a:p>
          <a:pPr marL="171450" lvl="1" indent="-171450" algn="ctr" defTabSz="800100">
            <a:lnSpc>
              <a:spcPct val="90000"/>
            </a:lnSpc>
            <a:spcBef>
              <a:spcPct val="0"/>
            </a:spcBef>
            <a:spcAft>
              <a:spcPct val="15000"/>
            </a:spcAft>
            <a:buChar char="•"/>
          </a:pPr>
          <a:r>
            <a:rPr lang="en-US" sz="1800" kern="1200" baseline="0" dirty="0"/>
            <a:t>The Log buffer is flushed </a:t>
          </a:r>
          <a:endParaRPr lang="en-US" sz="1800" kern="1200" dirty="0"/>
        </a:p>
      </dsp:txBody>
      <dsp:txXfrm>
        <a:off x="5625515" y="2836"/>
        <a:ext cx="3703059" cy="2221835"/>
      </dsp:txXfrm>
    </dsp:sp>
    <dsp:sp modelId="{86FB6218-1F81-42AB-8FBB-81CD979CE0FE}">
      <dsp:nvSpPr>
        <dsp:cNvPr id="0" name=""/>
        <dsp:cNvSpPr/>
      </dsp:nvSpPr>
      <dsp:spPr>
        <a:xfrm>
          <a:off x="1552150" y="2594977"/>
          <a:ext cx="3703059" cy="22218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ll system transactions are durable</a:t>
          </a:r>
          <a:endParaRPr lang="en-US" sz="2300" kern="1200" dirty="0"/>
        </a:p>
      </dsp:txBody>
      <dsp:txXfrm>
        <a:off x="1552150" y="2594977"/>
        <a:ext cx="3703059" cy="2221835"/>
      </dsp:txXfrm>
    </dsp:sp>
    <dsp:sp modelId="{8FF72588-E4DC-425D-B266-89DDC46EEC7A}">
      <dsp:nvSpPr>
        <dsp:cNvPr id="0" name=""/>
        <dsp:cNvSpPr/>
      </dsp:nvSpPr>
      <dsp:spPr>
        <a:xfrm>
          <a:off x="5625515" y="2594977"/>
          <a:ext cx="3703059" cy="2221835"/>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TempDB has the lazy commit behavior by default</a:t>
          </a:r>
          <a:endParaRPr lang="en-US" sz="2300" kern="1200" dirty="0"/>
        </a:p>
      </dsp:txBody>
      <dsp:txXfrm>
        <a:off x="5625515" y="2594977"/>
        <a:ext cx="3703059" cy="222183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8D0689-907F-4375-A0B3-C5800F309C63}">
      <dsp:nvSpPr>
        <dsp:cNvPr id="0" name=""/>
        <dsp:cNvSpPr/>
      </dsp:nvSpPr>
      <dsp:spPr>
        <a:xfrm>
          <a:off x="4090" y="972130"/>
          <a:ext cx="2459851" cy="70752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hange tracking and change data capture</a:t>
          </a:r>
        </a:p>
      </dsp:txBody>
      <dsp:txXfrm>
        <a:off x="4090" y="972130"/>
        <a:ext cx="2459851" cy="707525"/>
      </dsp:txXfrm>
    </dsp:sp>
    <dsp:sp modelId="{AC88F90F-DCB1-4871-93AF-C43EC200640B}">
      <dsp:nvSpPr>
        <dsp:cNvPr id="0" name=""/>
        <dsp:cNvSpPr/>
      </dsp:nvSpPr>
      <dsp:spPr>
        <a:xfrm>
          <a:off x="4090" y="1679656"/>
          <a:ext cx="2459851" cy="216786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use of delayed durability is not supported for databases which use change data capture (CDC).</a:t>
          </a:r>
        </a:p>
      </dsp:txBody>
      <dsp:txXfrm>
        <a:off x="4090" y="1679656"/>
        <a:ext cx="2459851" cy="2167863"/>
      </dsp:txXfrm>
    </dsp:sp>
    <dsp:sp modelId="{419C33B0-1E7B-4C9E-A666-30DDF00A8457}">
      <dsp:nvSpPr>
        <dsp:cNvPr id="0" name=""/>
        <dsp:cNvSpPr/>
      </dsp:nvSpPr>
      <dsp:spPr>
        <a:xfrm>
          <a:off x="2808321" y="972130"/>
          <a:ext cx="2459851" cy="70752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rash recovery</a:t>
          </a:r>
        </a:p>
      </dsp:txBody>
      <dsp:txXfrm>
        <a:off x="2808321" y="972130"/>
        <a:ext cx="2459851" cy="707525"/>
      </dsp:txXfrm>
    </dsp:sp>
    <dsp:sp modelId="{4EEA8645-CCB3-4B99-ABF7-E40ABA5AF6D5}">
      <dsp:nvSpPr>
        <dsp:cNvPr id="0" name=""/>
        <dsp:cNvSpPr/>
      </dsp:nvSpPr>
      <dsp:spPr>
        <a:xfrm>
          <a:off x="2808321" y="1679656"/>
          <a:ext cx="2459851" cy="216786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onsistency is guaranteed, but some changes from delayed durable transactions that have committed may be lost.</a:t>
          </a:r>
        </a:p>
      </dsp:txBody>
      <dsp:txXfrm>
        <a:off x="2808321" y="1679656"/>
        <a:ext cx="2459851" cy="2167863"/>
      </dsp:txXfrm>
    </dsp:sp>
    <dsp:sp modelId="{9BD12482-412D-4736-A967-EB213E5F0274}">
      <dsp:nvSpPr>
        <dsp:cNvPr id="0" name=""/>
        <dsp:cNvSpPr/>
      </dsp:nvSpPr>
      <dsp:spPr>
        <a:xfrm>
          <a:off x="5612552" y="972130"/>
          <a:ext cx="2459851" cy="70752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Cross-database and DTC</a:t>
          </a:r>
        </a:p>
      </dsp:txBody>
      <dsp:txXfrm>
        <a:off x="5612552" y="972130"/>
        <a:ext cx="2459851" cy="707525"/>
      </dsp:txXfrm>
    </dsp:sp>
    <dsp:sp modelId="{FD2C70A5-CADF-4A86-85CF-1BB631040A09}">
      <dsp:nvSpPr>
        <dsp:cNvPr id="0" name=""/>
        <dsp:cNvSpPr/>
      </dsp:nvSpPr>
      <dsp:spPr>
        <a:xfrm>
          <a:off x="5612552" y="1679656"/>
          <a:ext cx="2459851" cy="216786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If a transaction is cross-database or distributed, it is fully durable, regardless of any database or transaction commit setting.</a:t>
          </a:r>
        </a:p>
      </dsp:txBody>
      <dsp:txXfrm>
        <a:off x="5612552" y="1679656"/>
        <a:ext cx="2459851" cy="2167863"/>
      </dsp:txXfrm>
    </dsp:sp>
    <dsp:sp modelId="{985BC8CC-8123-4914-AFAA-1D1EA4FF5426}">
      <dsp:nvSpPr>
        <dsp:cNvPr id="0" name=""/>
        <dsp:cNvSpPr/>
      </dsp:nvSpPr>
      <dsp:spPr>
        <a:xfrm>
          <a:off x="8416782" y="972130"/>
          <a:ext cx="2459851" cy="707525"/>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Always On Availability Groups and Mirroring</a:t>
          </a:r>
        </a:p>
      </dsp:txBody>
      <dsp:txXfrm>
        <a:off x="8416782" y="972130"/>
        <a:ext cx="2459851" cy="707525"/>
      </dsp:txXfrm>
    </dsp:sp>
    <dsp:sp modelId="{2C215BE5-7E81-45CC-8B02-700FAEF01AA3}">
      <dsp:nvSpPr>
        <dsp:cNvPr id="0" name=""/>
        <dsp:cNvSpPr/>
      </dsp:nvSpPr>
      <dsp:spPr>
        <a:xfrm>
          <a:off x="8416782" y="1679656"/>
          <a:ext cx="2459851" cy="216786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layed durable transactions do not guarantee any durability on either the primary or any of the secondaries.</a:t>
          </a:r>
        </a:p>
      </dsp:txBody>
      <dsp:txXfrm>
        <a:off x="8416782" y="1679656"/>
        <a:ext cx="2459851" cy="2167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69043-0083-41DF-961A-69FF4BEF0AF9}">
      <dsp:nvSpPr>
        <dsp:cNvPr id="0" name=""/>
        <dsp:cNvSpPr/>
      </dsp:nvSpPr>
      <dsp:spPr>
        <a:xfrm>
          <a:off x="0" y="267464"/>
          <a:ext cx="7288451" cy="743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is either fully completed or not at all.</a:t>
          </a:r>
        </a:p>
      </dsp:txBody>
      <dsp:txXfrm>
        <a:off x="0" y="267464"/>
        <a:ext cx="7288451" cy="743400"/>
      </dsp:txXfrm>
    </dsp:sp>
    <dsp:sp modelId="{9FF00FAF-A430-4F52-AB25-3C1052DDEB4F}">
      <dsp:nvSpPr>
        <dsp:cNvPr id="0" name=""/>
        <dsp:cNvSpPr/>
      </dsp:nvSpPr>
      <dsp:spPr>
        <a:xfrm>
          <a:off x="364422" y="31304"/>
          <a:ext cx="5101915"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A</a:t>
          </a:r>
          <a:r>
            <a:rPr lang="en-US" sz="2400" kern="1200" dirty="0"/>
            <a:t> - Atomicity</a:t>
          </a:r>
        </a:p>
      </dsp:txBody>
      <dsp:txXfrm>
        <a:off x="387479" y="54361"/>
        <a:ext cx="5055801" cy="426206"/>
      </dsp:txXfrm>
    </dsp:sp>
    <dsp:sp modelId="{3BC3D696-87DD-47B5-8AC4-79DA9C6DF051}">
      <dsp:nvSpPr>
        <dsp:cNvPr id="0" name=""/>
        <dsp:cNvSpPr/>
      </dsp:nvSpPr>
      <dsp:spPr>
        <a:xfrm>
          <a:off x="0" y="1333424"/>
          <a:ext cx="7288451" cy="743400"/>
        </a:xfrm>
        <a:prstGeom prst="rect">
          <a:avLst/>
        </a:prstGeom>
        <a:solidFill>
          <a:schemeClr val="lt1">
            <a:alpha val="90000"/>
            <a:hueOff val="0"/>
            <a:satOff val="0"/>
            <a:lumOff val="0"/>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transaction must leave data in a consistent state.</a:t>
          </a:r>
        </a:p>
      </dsp:txBody>
      <dsp:txXfrm>
        <a:off x="0" y="1333424"/>
        <a:ext cx="7288451" cy="743400"/>
      </dsp:txXfrm>
    </dsp:sp>
    <dsp:sp modelId="{28521572-6FA0-4E96-B988-AFD0BA98348C}">
      <dsp:nvSpPr>
        <dsp:cNvPr id="0" name=""/>
        <dsp:cNvSpPr/>
      </dsp:nvSpPr>
      <dsp:spPr>
        <a:xfrm>
          <a:off x="364422" y="1097264"/>
          <a:ext cx="5101915" cy="47232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C</a:t>
          </a:r>
          <a:r>
            <a:rPr lang="en-US" sz="2400" kern="1200" dirty="0"/>
            <a:t> - Consistency</a:t>
          </a:r>
        </a:p>
      </dsp:txBody>
      <dsp:txXfrm>
        <a:off x="387479" y="1120321"/>
        <a:ext cx="5055801" cy="426206"/>
      </dsp:txXfrm>
    </dsp:sp>
    <dsp:sp modelId="{3A75188F-55C7-4C4C-9A0F-B5B59C1C5A03}">
      <dsp:nvSpPr>
        <dsp:cNvPr id="0" name=""/>
        <dsp:cNvSpPr/>
      </dsp:nvSpPr>
      <dsp:spPr>
        <a:xfrm>
          <a:off x="0" y="2399384"/>
          <a:ext cx="7288451" cy="1033200"/>
        </a:xfrm>
        <a:prstGeom prst="rect">
          <a:avLst/>
        </a:prstGeom>
        <a:solidFill>
          <a:schemeClr val="lt1">
            <a:alpha val="90000"/>
            <a:hueOff val="0"/>
            <a:satOff val="0"/>
            <a:lumOff val="0"/>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Changes made by a transaction must be isolated from other concurrent transactions.</a:t>
          </a:r>
        </a:p>
      </dsp:txBody>
      <dsp:txXfrm>
        <a:off x="0" y="2399384"/>
        <a:ext cx="7288451" cy="1033200"/>
      </dsp:txXfrm>
    </dsp:sp>
    <dsp:sp modelId="{BAB47458-479F-4E92-A55F-13D1F22C92AC}">
      <dsp:nvSpPr>
        <dsp:cNvPr id="0" name=""/>
        <dsp:cNvSpPr/>
      </dsp:nvSpPr>
      <dsp:spPr>
        <a:xfrm>
          <a:off x="364422" y="2163224"/>
          <a:ext cx="5101915" cy="47232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I</a:t>
          </a:r>
          <a:r>
            <a:rPr lang="en-US" sz="2400" kern="1200" dirty="0"/>
            <a:t> - Isolation</a:t>
          </a:r>
        </a:p>
      </dsp:txBody>
      <dsp:txXfrm>
        <a:off x="387479" y="2186281"/>
        <a:ext cx="5055801" cy="426206"/>
      </dsp:txXfrm>
    </dsp:sp>
    <dsp:sp modelId="{3B884864-115A-4C2F-8C11-84CA1B3DC4BE}">
      <dsp:nvSpPr>
        <dsp:cNvPr id="0" name=""/>
        <dsp:cNvSpPr/>
      </dsp:nvSpPr>
      <dsp:spPr>
        <a:xfrm>
          <a:off x="0" y="3755145"/>
          <a:ext cx="7288451" cy="10332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5665" tIns="333248" rIns="5656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modifications persist even in the event of a system failure.</a:t>
          </a:r>
        </a:p>
      </dsp:txBody>
      <dsp:txXfrm>
        <a:off x="0" y="3755145"/>
        <a:ext cx="7288451" cy="1033200"/>
      </dsp:txXfrm>
    </dsp:sp>
    <dsp:sp modelId="{851C09E9-3518-4482-BB7B-DDB677BD502B}">
      <dsp:nvSpPr>
        <dsp:cNvPr id="0" name=""/>
        <dsp:cNvSpPr/>
      </dsp:nvSpPr>
      <dsp:spPr>
        <a:xfrm>
          <a:off x="364422" y="3518985"/>
          <a:ext cx="5101915"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840" tIns="0" rIns="192840" bIns="0" numCol="1" spcCol="1270" anchor="ctr" anchorCtr="0">
          <a:noAutofit/>
        </a:bodyPr>
        <a:lstStyle/>
        <a:p>
          <a:pPr marL="0" lvl="0" indent="0" algn="l" defTabSz="1066800">
            <a:lnSpc>
              <a:spcPct val="90000"/>
            </a:lnSpc>
            <a:spcBef>
              <a:spcPct val="0"/>
            </a:spcBef>
            <a:spcAft>
              <a:spcPct val="35000"/>
            </a:spcAft>
            <a:buNone/>
          </a:pPr>
          <a:r>
            <a:rPr lang="en-US" sz="2400" b="1" kern="1200" dirty="0"/>
            <a:t>D</a:t>
          </a:r>
          <a:r>
            <a:rPr lang="en-US" sz="2400" kern="1200" dirty="0"/>
            <a:t> - Durability</a:t>
          </a:r>
        </a:p>
      </dsp:txBody>
      <dsp:txXfrm>
        <a:off x="387479" y="3542042"/>
        <a:ext cx="5055801" cy="42620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F43217-3586-48EA-B02D-3AA3C9C63F47}">
      <dsp:nvSpPr>
        <dsp:cNvPr id="0" name=""/>
        <dsp:cNvSpPr/>
      </dsp:nvSpPr>
      <dsp:spPr>
        <a:xfrm>
          <a:off x="4090" y="296347"/>
          <a:ext cx="2459851" cy="98394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Failover clustering</a:t>
          </a:r>
        </a:p>
      </dsp:txBody>
      <dsp:txXfrm>
        <a:off x="4090" y="296347"/>
        <a:ext cx="2459851" cy="983940"/>
      </dsp:txXfrm>
    </dsp:sp>
    <dsp:sp modelId="{2DFA4956-E33A-4F5D-9D59-BFE2843C5A48}">
      <dsp:nvSpPr>
        <dsp:cNvPr id="0" name=""/>
        <dsp:cNvSpPr/>
      </dsp:nvSpPr>
      <dsp:spPr>
        <a:xfrm>
          <a:off x="4090" y="1280288"/>
          <a:ext cx="2459851" cy="324301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Some delayed durable transaction writes might be lost.</a:t>
          </a:r>
        </a:p>
      </dsp:txBody>
      <dsp:txXfrm>
        <a:off x="4090" y="1280288"/>
        <a:ext cx="2459851" cy="3243013"/>
      </dsp:txXfrm>
    </dsp:sp>
    <dsp:sp modelId="{CF0CA838-8E0E-4725-B77F-1A304CD62A58}">
      <dsp:nvSpPr>
        <dsp:cNvPr id="0" name=""/>
        <dsp:cNvSpPr/>
      </dsp:nvSpPr>
      <dsp:spPr>
        <a:xfrm>
          <a:off x="2808321" y="296347"/>
          <a:ext cx="2459851" cy="98394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Transaction Replication</a:t>
          </a:r>
        </a:p>
      </dsp:txBody>
      <dsp:txXfrm>
        <a:off x="2808321" y="296347"/>
        <a:ext cx="2459851" cy="983940"/>
      </dsp:txXfrm>
    </dsp:sp>
    <dsp:sp modelId="{7EA00320-B476-4A21-B336-2A8C8AC2088C}">
      <dsp:nvSpPr>
        <dsp:cNvPr id="0" name=""/>
        <dsp:cNvSpPr/>
      </dsp:nvSpPr>
      <dsp:spPr>
        <a:xfrm>
          <a:off x="2808321" y="1280288"/>
          <a:ext cx="2459851" cy="324301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elayed durable transactions is not supported with Transactional Replication.</a:t>
          </a:r>
        </a:p>
      </dsp:txBody>
      <dsp:txXfrm>
        <a:off x="2808321" y="1280288"/>
        <a:ext cx="2459851" cy="3243013"/>
      </dsp:txXfrm>
    </dsp:sp>
    <dsp:sp modelId="{EB5D7ABD-F433-48C9-B350-2A68B75A5C58}">
      <dsp:nvSpPr>
        <dsp:cNvPr id="0" name=""/>
        <dsp:cNvSpPr/>
      </dsp:nvSpPr>
      <dsp:spPr>
        <a:xfrm>
          <a:off x="5612552" y="296347"/>
          <a:ext cx="2459851" cy="98394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Log shipping</a:t>
          </a:r>
        </a:p>
      </dsp:txBody>
      <dsp:txXfrm>
        <a:off x="5612552" y="296347"/>
        <a:ext cx="2459851" cy="983940"/>
      </dsp:txXfrm>
    </dsp:sp>
    <dsp:sp modelId="{FE563E0E-77A6-4E8D-91DE-990F1FD9A306}">
      <dsp:nvSpPr>
        <dsp:cNvPr id="0" name=""/>
        <dsp:cNvSpPr/>
      </dsp:nvSpPr>
      <dsp:spPr>
        <a:xfrm>
          <a:off x="5612552" y="1280288"/>
          <a:ext cx="2459851" cy="324301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ly transactions that have been made durable are included in the log that is shipped.</a:t>
          </a:r>
        </a:p>
      </dsp:txBody>
      <dsp:txXfrm>
        <a:off x="5612552" y="1280288"/>
        <a:ext cx="2459851" cy="3243013"/>
      </dsp:txXfrm>
    </dsp:sp>
    <dsp:sp modelId="{947F0488-2B0A-4EA3-9A6F-49A27E7D9089}">
      <dsp:nvSpPr>
        <dsp:cNvPr id="0" name=""/>
        <dsp:cNvSpPr/>
      </dsp:nvSpPr>
      <dsp:spPr>
        <a:xfrm>
          <a:off x="8416782" y="296347"/>
          <a:ext cx="2459851" cy="98394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Log Backup</a:t>
          </a:r>
        </a:p>
      </dsp:txBody>
      <dsp:txXfrm>
        <a:off x="8416782" y="296347"/>
        <a:ext cx="2459851" cy="983940"/>
      </dsp:txXfrm>
    </dsp:sp>
    <dsp:sp modelId="{1BC62F99-D836-4441-9EB6-4BE4CBE77A5B}">
      <dsp:nvSpPr>
        <dsp:cNvPr id="0" name=""/>
        <dsp:cNvSpPr/>
      </dsp:nvSpPr>
      <dsp:spPr>
        <a:xfrm>
          <a:off x="8416782" y="1280288"/>
          <a:ext cx="2459851" cy="324301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ly transactions that have been made durable are included in the backup.</a:t>
          </a:r>
        </a:p>
      </dsp:txBody>
      <dsp:txXfrm>
        <a:off x="8416782" y="1280288"/>
        <a:ext cx="2459851" cy="324301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8462"/>
          <a:ext cx="10880725" cy="10125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When will an update to a row be written to the data file?</a:t>
          </a:r>
          <a:endParaRPr lang="en-US" sz="2400" b="0" kern="1200" dirty="0"/>
        </a:p>
      </dsp:txBody>
      <dsp:txXfrm>
        <a:off x="49427" y="57889"/>
        <a:ext cx="10781871" cy="913653"/>
      </dsp:txXfrm>
    </dsp:sp>
    <dsp:sp modelId="{0E5177C7-801D-471B-9850-4FD8DFBC4036}">
      <dsp:nvSpPr>
        <dsp:cNvPr id="0" name=""/>
        <dsp:cNvSpPr/>
      </dsp:nvSpPr>
      <dsp:spPr>
        <a:xfrm>
          <a:off x="0" y="1075689"/>
          <a:ext cx="10880725" cy="101250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en is a transaction written to the transaction log?</a:t>
          </a:r>
          <a:endParaRPr lang="en-US" sz="2400" b="0" kern="1200" dirty="0">
            <a:latin typeface="Segoe UI Light" panose="020B0502040204020203" pitchFamily="34" charset="0"/>
            <a:ea typeface="+mn-ea"/>
            <a:cs typeface="Segoe UI Light" panose="020B0502040204020203" pitchFamily="34" charset="0"/>
          </a:endParaRPr>
        </a:p>
      </dsp:txBody>
      <dsp:txXfrm>
        <a:off x="49427" y="1125116"/>
        <a:ext cx="10781871" cy="913653"/>
      </dsp:txXfrm>
    </dsp:sp>
    <dsp:sp modelId="{29DDF936-5BD3-481F-878F-EF82327F1F1A}">
      <dsp:nvSpPr>
        <dsp:cNvPr id="0" name=""/>
        <dsp:cNvSpPr/>
      </dsp:nvSpPr>
      <dsp:spPr>
        <a:xfrm>
          <a:off x="0" y="2142917"/>
          <a:ext cx="10880725" cy="101250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happens to a data modification if the SQL Server crashes before the change has been written to the data file?</a:t>
          </a:r>
          <a:endParaRPr lang="en-US" sz="2400" b="0" kern="1200" dirty="0">
            <a:latin typeface="Segoe UI Light" panose="020B0502040204020203" pitchFamily="34" charset="0"/>
            <a:ea typeface="+mn-ea"/>
            <a:cs typeface="Segoe UI Light" panose="020B0502040204020203" pitchFamily="34" charset="0"/>
          </a:endParaRPr>
        </a:p>
      </dsp:txBody>
      <dsp:txXfrm>
        <a:off x="49427" y="2192344"/>
        <a:ext cx="10781871" cy="913653"/>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D82A1-33DB-4877-9477-ECF8B57273BF}">
      <dsp:nvSpPr>
        <dsp:cNvPr id="0" name=""/>
        <dsp:cNvSpPr/>
      </dsp:nvSpPr>
      <dsp:spPr>
        <a:xfrm rot="5400000">
          <a:off x="6461351" y="-2308759"/>
          <a:ext cx="1875083" cy="6963664"/>
        </a:xfrm>
        <a:prstGeom prst="round2Same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dirty="0"/>
            <a:t>A Custom SQL scripts using DMVs that monitor locking and blocking</a:t>
          </a:r>
          <a:endParaRPr lang="en-US" sz="2000" kern="1200" dirty="0"/>
        </a:p>
        <a:p>
          <a:pPr marL="228600" lvl="1" indent="-228600" algn="l" defTabSz="889000">
            <a:lnSpc>
              <a:spcPct val="90000"/>
            </a:lnSpc>
            <a:spcBef>
              <a:spcPct val="0"/>
            </a:spcBef>
            <a:spcAft>
              <a:spcPct val="15000"/>
            </a:spcAft>
            <a:buChar char="•"/>
          </a:pPr>
          <a:r>
            <a:rPr lang="en-US" sz="2000" kern="1200" baseline="0" dirty="0"/>
            <a:t>Use SSMS standard reports i.e. Activity – All blocking transactions</a:t>
          </a:r>
          <a:endParaRPr lang="en-US" sz="2000" kern="1200" dirty="0"/>
        </a:p>
        <a:p>
          <a:pPr marL="228600" lvl="1" indent="-228600" algn="l" defTabSz="889000">
            <a:lnSpc>
              <a:spcPct val="90000"/>
            </a:lnSpc>
            <a:spcBef>
              <a:spcPct val="0"/>
            </a:spcBef>
            <a:spcAft>
              <a:spcPct val="15000"/>
            </a:spcAft>
            <a:buChar char="•"/>
          </a:pPr>
          <a:r>
            <a:rPr lang="en-US" sz="2000" kern="1200" baseline="0" dirty="0"/>
            <a:t>Extended events - blocked process report</a:t>
          </a:r>
          <a:endParaRPr lang="en-US" sz="2000" kern="1200" dirty="0"/>
        </a:p>
      </dsp:txBody>
      <dsp:txXfrm rot="-5400000">
        <a:off x="3917061" y="327065"/>
        <a:ext cx="6872130" cy="1692015"/>
      </dsp:txXfrm>
    </dsp:sp>
    <dsp:sp modelId="{4A66A65C-B539-4654-9074-F975B5769DDF}">
      <dsp:nvSpPr>
        <dsp:cNvPr id="0" name=""/>
        <dsp:cNvSpPr/>
      </dsp:nvSpPr>
      <dsp:spPr>
        <a:xfrm>
          <a:off x="0" y="1145"/>
          <a:ext cx="3917061" cy="234385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apturing blocking Information</a:t>
          </a:r>
          <a:endParaRPr lang="en-US" sz="2400" kern="1200" dirty="0"/>
        </a:p>
      </dsp:txBody>
      <dsp:txXfrm>
        <a:off x="114418" y="115563"/>
        <a:ext cx="3688225" cy="211501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19F846-C296-449F-B88A-E66F71F016FD}">
      <dsp:nvSpPr>
        <dsp:cNvPr id="0" name=""/>
        <dsp:cNvSpPr/>
      </dsp:nvSpPr>
      <dsp:spPr>
        <a:xfrm>
          <a:off x="0" y="15388"/>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Long running Query</a:t>
          </a:r>
        </a:p>
      </dsp:txBody>
      <dsp:txXfrm>
        <a:off x="26387" y="41775"/>
        <a:ext cx="10827952" cy="487766"/>
      </dsp:txXfrm>
    </dsp:sp>
    <dsp:sp modelId="{DFE51CA4-01C3-4B8D-8E2E-9503BFEF1F09}">
      <dsp:nvSpPr>
        <dsp:cNvPr id="0" name=""/>
        <dsp:cNvSpPr/>
      </dsp:nvSpPr>
      <dsp:spPr>
        <a:xfrm>
          <a:off x="0" y="616408"/>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Orphaned connection</a:t>
          </a:r>
        </a:p>
      </dsp:txBody>
      <dsp:txXfrm>
        <a:off x="26387" y="642795"/>
        <a:ext cx="10827952" cy="487766"/>
      </dsp:txXfrm>
    </dsp:sp>
    <dsp:sp modelId="{C565A0B8-0972-4482-A081-B2C7B978DC6B}">
      <dsp:nvSpPr>
        <dsp:cNvPr id="0" name=""/>
        <dsp:cNvSpPr/>
      </dsp:nvSpPr>
      <dsp:spPr>
        <a:xfrm>
          <a:off x="0" y="1217428"/>
          <a:ext cx="10880726"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whose corresponding client application did not fetch all result rows to completion</a:t>
          </a:r>
        </a:p>
      </dsp:txBody>
      <dsp:txXfrm>
        <a:off x="26387" y="1243815"/>
        <a:ext cx="10827952" cy="487766"/>
      </dsp:txXfrm>
    </dsp:sp>
    <dsp:sp modelId="{D460BB1F-8774-4BD1-AE10-8AF69F82B2EE}">
      <dsp:nvSpPr>
        <dsp:cNvPr id="0" name=""/>
        <dsp:cNvSpPr/>
      </dsp:nvSpPr>
      <dsp:spPr>
        <a:xfrm>
          <a:off x="0" y="1818448"/>
          <a:ext cx="10880726"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leeping server SPID that has lost track of the Transaction Nesting Level </a:t>
          </a:r>
        </a:p>
      </dsp:txBody>
      <dsp:txXfrm>
        <a:off x="26387" y="1844835"/>
        <a:ext cx="10827952" cy="487766"/>
      </dsp:txXfrm>
    </dsp:sp>
    <dsp:sp modelId="{2B6CA8C9-E3ED-491C-BDB4-C190371E6EB7}">
      <dsp:nvSpPr>
        <dsp:cNvPr id="0" name=""/>
        <dsp:cNvSpPr/>
      </dsp:nvSpPr>
      <dsp:spPr>
        <a:xfrm>
          <a:off x="0" y="2419468"/>
          <a:ext cx="10880726"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appropriate transaction or transaction-isolation level</a:t>
          </a:r>
        </a:p>
      </dsp:txBody>
      <dsp:txXfrm>
        <a:off x="26387" y="2445855"/>
        <a:ext cx="10827952" cy="487766"/>
      </dsp:txXfrm>
    </dsp:sp>
    <dsp:sp modelId="{7C4E7952-9547-495F-9883-7DD1565DE347}">
      <dsp:nvSpPr>
        <dsp:cNvPr id="0" name=""/>
        <dsp:cNvSpPr/>
      </dsp:nvSpPr>
      <dsp:spPr>
        <a:xfrm>
          <a:off x="0" y="3020489"/>
          <a:ext cx="10880726"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SPID that is in a rollback state</a:t>
          </a:r>
        </a:p>
      </dsp:txBody>
      <dsp:txXfrm>
        <a:off x="26387" y="3046876"/>
        <a:ext cx="10827952" cy="487766"/>
      </dsp:txXfrm>
    </dsp:sp>
    <dsp:sp modelId="{14891E79-2B42-4512-B37F-6E3D3212124D}">
      <dsp:nvSpPr>
        <dsp:cNvPr id="0" name=""/>
        <dsp:cNvSpPr/>
      </dsp:nvSpPr>
      <dsp:spPr>
        <a:xfrm>
          <a:off x="0" y="3621509"/>
          <a:ext cx="10880726"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Distributed client/server deadlock</a:t>
          </a:r>
        </a:p>
      </dsp:txBody>
      <dsp:txXfrm>
        <a:off x="26387" y="3647896"/>
        <a:ext cx="10827952" cy="487766"/>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14E69-ABD2-45A0-A394-2AA1C2A7F63E}">
      <dsp:nvSpPr>
        <dsp:cNvPr id="0" name=""/>
        <dsp:cNvSpPr/>
      </dsp:nvSpPr>
      <dsp:spPr>
        <a:xfrm>
          <a:off x="3400" y="804087"/>
          <a:ext cx="3315220" cy="662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Dynamic views</a:t>
          </a:r>
          <a:endParaRPr lang="en-US" sz="2300" kern="1200" dirty="0"/>
        </a:p>
      </dsp:txBody>
      <dsp:txXfrm>
        <a:off x="3400" y="804087"/>
        <a:ext cx="3315220" cy="662400"/>
      </dsp:txXfrm>
    </dsp:sp>
    <dsp:sp modelId="{3F51F6A4-494C-4685-ACE0-BCAD5C7B93B9}">
      <dsp:nvSpPr>
        <dsp:cNvPr id="0" name=""/>
        <dsp:cNvSpPr/>
      </dsp:nvSpPr>
      <dsp:spPr>
        <a:xfrm>
          <a:off x="3400" y="1466487"/>
          <a:ext cx="3315220" cy="254907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a:t>sys.dm_exec_requests </a:t>
          </a:r>
          <a:endParaRPr lang="en-US" sz="2300" kern="1200" dirty="0"/>
        </a:p>
        <a:p>
          <a:pPr marL="228600" lvl="1" indent="-228600" algn="l" defTabSz="1022350">
            <a:lnSpc>
              <a:spcPct val="90000"/>
            </a:lnSpc>
            <a:spcBef>
              <a:spcPct val="0"/>
            </a:spcBef>
            <a:spcAft>
              <a:spcPct val="15000"/>
            </a:spcAft>
            <a:buChar char="•"/>
          </a:pPr>
          <a:r>
            <a:rPr lang="en-US" sz="2300" kern="1200" baseline="0"/>
            <a:t>sys.dm_tran_locks </a:t>
          </a:r>
          <a:endParaRPr lang="en-US" sz="2300" kern="1200" dirty="0"/>
        </a:p>
      </dsp:txBody>
      <dsp:txXfrm>
        <a:off x="3400" y="1466487"/>
        <a:ext cx="3315220" cy="2549075"/>
      </dsp:txXfrm>
    </dsp:sp>
    <dsp:sp modelId="{902248F6-433A-4AAE-9092-8B2405B7058F}">
      <dsp:nvSpPr>
        <dsp:cNvPr id="0" name=""/>
        <dsp:cNvSpPr/>
      </dsp:nvSpPr>
      <dsp:spPr>
        <a:xfrm>
          <a:off x="3782752" y="804087"/>
          <a:ext cx="3315220" cy="662400"/>
        </a:xfrm>
        <a:prstGeom prst="rect">
          <a:avLst/>
        </a:prstGeom>
        <a:solidFill>
          <a:schemeClr val="accent2">
            <a:hueOff val="-1333748"/>
            <a:satOff val="27691"/>
            <a:lumOff val="294"/>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Performance Monitor</a:t>
          </a:r>
          <a:endParaRPr lang="en-US" sz="2300" kern="1200" dirty="0"/>
        </a:p>
      </dsp:txBody>
      <dsp:txXfrm>
        <a:off x="3782752" y="804087"/>
        <a:ext cx="3315220" cy="662400"/>
      </dsp:txXfrm>
    </dsp:sp>
    <dsp:sp modelId="{C8C4B347-F5D0-44FA-862C-2EB6FA2BAE86}">
      <dsp:nvSpPr>
        <dsp:cNvPr id="0" name=""/>
        <dsp:cNvSpPr/>
      </dsp:nvSpPr>
      <dsp:spPr>
        <a:xfrm>
          <a:off x="3782752" y="1466487"/>
          <a:ext cx="3315220" cy="2549075"/>
        </a:xfrm>
        <a:prstGeom prst="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Possible High CPU utilization</a:t>
          </a:r>
          <a:endParaRPr lang="en-US" sz="2300" kern="1200" dirty="0"/>
        </a:p>
      </dsp:txBody>
      <dsp:txXfrm>
        <a:off x="3782752" y="1466487"/>
        <a:ext cx="3315220" cy="2549075"/>
      </dsp:txXfrm>
    </dsp:sp>
    <dsp:sp modelId="{1EE971C4-1E94-4101-8F0E-D137C46C2F38}">
      <dsp:nvSpPr>
        <dsp:cNvPr id="0" name=""/>
        <dsp:cNvSpPr/>
      </dsp:nvSpPr>
      <dsp:spPr>
        <a:xfrm>
          <a:off x="7562103" y="804087"/>
          <a:ext cx="3315220" cy="6624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baseline="0" dirty="0"/>
            <a:t>Resolution:</a:t>
          </a:r>
          <a:endParaRPr lang="en-US" sz="2300" kern="1200" dirty="0"/>
        </a:p>
      </dsp:txBody>
      <dsp:txXfrm>
        <a:off x="7562103" y="804087"/>
        <a:ext cx="3315220" cy="662400"/>
      </dsp:txXfrm>
    </dsp:sp>
    <dsp:sp modelId="{30944624-1974-4300-8A5F-E61B16231DE6}">
      <dsp:nvSpPr>
        <dsp:cNvPr id="0" name=""/>
        <dsp:cNvSpPr/>
      </dsp:nvSpPr>
      <dsp:spPr>
        <a:xfrm>
          <a:off x="7562103" y="1466487"/>
          <a:ext cx="3315220" cy="254907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baseline="0" dirty="0"/>
            <a:t>Check to see for two-part name</a:t>
          </a:r>
          <a:endParaRPr lang="en-US" sz="2300" kern="1200" dirty="0"/>
        </a:p>
        <a:p>
          <a:pPr marL="228600" lvl="1" indent="-228600" algn="l" defTabSz="1022350">
            <a:lnSpc>
              <a:spcPct val="90000"/>
            </a:lnSpc>
            <a:spcBef>
              <a:spcPct val="0"/>
            </a:spcBef>
            <a:spcAft>
              <a:spcPct val="15000"/>
            </a:spcAft>
            <a:buChar char="•"/>
          </a:pPr>
          <a:r>
            <a:rPr lang="en-US" sz="2300" kern="1200" baseline="0" dirty="0"/>
            <a:t>Troubleshoot stored procedure recompile</a:t>
          </a:r>
          <a:endParaRPr lang="en-US" sz="2300" kern="1200" dirty="0"/>
        </a:p>
        <a:p>
          <a:pPr marL="228600" lvl="1" indent="-228600" algn="l" defTabSz="1022350">
            <a:lnSpc>
              <a:spcPct val="90000"/>
            </a:lnSpc>
            <a:spcBef>
              <a:spcPct val="0"/>
            </a:spcBef>
            <a:spcAft>
              <a:spcPct val="15000"/>
            </a:spcAft>
            <a:buChar char="•"/>
          </a:pPr>
          <a:r>
            <a:rPr lang="en-US" sz="2300" kern="1200" baseline="0" dirty="0"/>
            <a:t>Avoid procedure names with sp_</a:t>
          </a:r>
          <a:endParaRPr lang="en-US" sz="2300" kern="1200" dirty="0"/>
        </a:p>
      </dsp:txBody>
      <dsp:txXfrm>
        <a:off x="7562103" y="1466487"/>
        <a:ext cx="3315220" cy="254907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6C8C11-9C49-4EEA-B15B-801A9B84BC57}">
      <dsp:nvSpPr>
        <dsp:cNvPr id="0" name=""/>
        <dsp:cNvSpPr/>
      </dsp:nvSpPr>
      <dsp:spPr>
        <a:xfrm>
          <a:off x="0" y="359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Keep transactions short and in one batch.</a:t>
          </a:r>
          <a:endParaRPr lang="en-US" sz="2100" kern="1200" dirty="0"/>
        </a:p>
      </dsp:txBody>
      <dsp:txXfrm>
        <a:off x="26387" y="62371"/>
        <a:ext cx="10827951" cy="487766"/>
      </dsp:txXfrm>
    </dsp:sp>
    <dsp:sp modelId="{CC27A6EF-46B3-4187-A1EC-86CD35F83DFC}">
      <dsp:nvSpPr>
        <dsp:cNvPr id="0" name=""/>
        <dsp:cNvSpPr/>
      </dsp:nvSpPr>
      <dsp:spPr>
        <a:xfrm>
          <a:off x="0" y="637004"/>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void user interaction in a transaction.</a:t>
          </a:r>
          <a:endParaRPr lang="en-US" sz="2100" kern="1200" dirty="0"/>
        </a:p>
      </dsp:txBody>
      <dsp:txXfrm>
        <a:off x="26387" y="663391"/>
        <a:ext cx="10827951" cy="487766"/>
      </dsp:txXfrm>
    </dsp:sp>
    <dsp:sp modelId="{513792C4-552D-41A5-B3A7-2F4C868F8AE9}">
      <dsp:nvSpPr>
        <dsp:cNvPr id="0" name=""/>
        <dsp:cNvSpPr/>
      </dsp:nvSpPr>
      <dsp:spPr>
        <a:xfrm>
          <a:off x="0" y="1238024"/>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Use proper indexing – The Database Tuning Advisor index analysis.</a:t>
          </a:r>
          <a:endParaRPr lang="en-US" sz="2100" kern="1200" dirty="0"/>
        </a:p>
      </dsp:txBody>
      <dsp:txXfrm>
        <a:off x="26387" y="1264411"/>
        <a:ext cx="10827951" cy="487766"/>
      </dsp:txXfrm>
    </dsp:sp>
    <dsp:sp modelId="{C45A27D3-A74A-4105-909C-1EFE80AF5E82}">
      <dsp:nvSpPr>
        <dsp:cNvPr id="0" name=""/>
        <dsp:cNvSpPr/>
      </dsp:nvSpPr>
      <dsp:spPr>
        <a:xfrm>
          <a:off x="0" y="1839044"/>
          <a:ext cx="10880725" cy="5405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Beware of the implicit transactions.</a:t>
          </a:r>
          <a:endParaRPr lang="en-US" sz="2100" kern="1200" dirty="0"/>
        </a:p>
      </dsp:txBody>
      <dsp:txXfrm>
        <a:off x="26387" y="1865431"/>
        <a:ext cx="10827951" cy="487766"/>
      </dsp:txXfrm>
    </dsp:sp>
    <dsp:sp modelId="{E24DD4A6-42AF-41E5-8451-97DB16678A96}">
      <dsp:nvSpPr>
        <dsp:cNvPr id="0" name=""/>
        <dsp:cNvSpPr/>
      </dsp:nvSpPr>
      <dsp:spPr>
        <a:xfrm>
          <a:off x="0" y="2440064"/>
          <a:ext cx="10880725" cy="5405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educe the isolation level to lowest possible.</a:t>
          </a:r>
          <a:endParaRPr lang="en-US" sz="2100" kern="1200" dirty="0"/>
        </a:p>
      </dsp:txBody>
      <dsp:txXfrm>
        <a:off x="26387" y="2466451"/>
        <a:ext cx="10827951" cy="487766"/>
      </dsp:txXfrm>
    </dsp:sp>
    <dsp:sp modelId="{66491600-4129-4BB3-9180-C1B5BCB7C6B0}">
      <dsp:nvSpPr>
        <dsp:cNvPr id="0" name=""/>
        <dsp:cNvSpPr/>
      </dsp:nvSpPr>
      <dsp:spPr>
        <a:xfrm>
          <a:off x="0" y="3041084"/>
          <a:ext cx="10880725" cy="5405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Locking hint, Index hint, Join hint.</a:t>
          </a:r>
          <a:endParaRPr lang="en-US" sz="2100" kern="1200" dirty="0"/>
        </a:p>
      </dsp:txBody>
      <dsp:txXfrm>
        <a:off x="26387" y="3067471"/>
        <a:ext cx="10827951" cy="487766"/>
      </dsp:txXfrm>
    </dsp:sp>
    <dsp:sp modelId="{1011F628-6F39-4477-91B6-98E1FAE787CF}">
      <dsp:nvSpPr>
        <dsp:cNvPr id="0" name=""/>
        <dsp:cNvSpPr/>
      </dsp:nvSpPr>
      <dsp:spPr>
        <a:xfrm>
          <a:off x="0" y="3642105"/>
          <a:ext cx="10880725" cy="5405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Roll back when canceling;  Roll back on any error or timeout. </a:t>
          </a:r>
          <a:endParaRPr lang="en-US" sz="2100" kern="1200" dirty="0"/>
        </a:p>
      </dsp:txBody>
      <dsp:txXfrm>
        <a:off x="26387" y="3668492"/>
        <a:ext cx="10827951" cy="487766"/>
      </dsp:txXfrm>
    </dsp:sp>
    <dsp:sp modelId="{8934FD68-4F96-40B5-8777-0250AA4ADEFC}">
      <dsp:nvSpPr>
        <dsp:cNvPr id="0" name=""/>
        <dsp:cNvSpPr/>
      </dsp:nvSpPr>
      <dsp:spPr>
        <a:xfrm>
          <a:off x="0" y="4243125"/>
          <a:ext cx="10880725" cy="5405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baseline="0" dirty="0"/>
            <a:t>Apply a stress test at maximum projected user load before deployment.</a:t>
          </a:r>
          <a:endParaRPr lang="en-US" sz="2100" kern="1200" dirty="0"/>
        </a:p>
      </dsp:txBody>
      <dsp:txXfrm>
        <a:off x="26387" y="4269512"/>
        <a:ext cx="10827951" cy="487766"/>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E6D901-E016-4AF9-B949-AAF6EC26C98A}">
      <dsp:nvSpPr>
        <dsp:cNvPr id="0" name=""/>
        <dsp:cNvSpPr/>
      </dsp:nvSpPr>
      <dsp:spPr>
        <a:xfrm>
          <a:off x="0" y="489562"/>
          <a:ext cx="6296005"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wo or more processes are waiting for one another to obtain locked resources</a:t>
          </a:r>
          <a:endParaRPr lang="en-US" sz="2400" kern="1200" dirty="0"/>
        </a:p>
      </dsp:txBody>
      <dsp:txXfrm>
        <a:off x="59399" y="548961"/>
        <a:ext cx="6177207" cy="1098002"/>
      </dsp:txXfrm>
    </dsp:sp>
    <dsp:sp modelId="{2F701B0A-5274-473C-9EA2-C3AF66B9E99B}">
      <dsp:nvSpPr>
        <dsp:cNvPr id="0" name=""/>
        <dsp:cNvSpPr/>
      </dsp:nvSpPr>
      <dsp:spPr>
        <a:xfrm>
          <a:off x="0" y="1706362"/>
          <a:ext cx="6296005" cy="2623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89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Transaction 1 </a:t>
          </a:r>
          <a:r>
            <a:rPr lang="en-US" sz="2000" b="1" kern="1200" baseline="0" dirty="0"/>
            <a:t>holds</a:t>
          </a:r>
          <a:r>
            <a:rPr lang="en-US" sz="2000" kern="1200" baseline="0" dirty="0"/>
            <a:t> a lock on the </a:t>
          </a:r>
          <a:r>
            <a:rPr lang="en-US" sz="2000" u="sng" kern="1200" baseline="0" dirty="0"/>
            <a:t>Supplier table </a:t>
          </a:r>
          <a:r>
            <a:rPr lang="en-US" sz="2000" kern="1200" baseline="0" dirty="0"/>
            <a:t>and </a:t>
          </a:r>
          <a:r>
            <a:rPr lang="en-US" sz="2000" b="1" kern="1200" baseline="0" dirty="0"/>
            <a:t>requires</a:t>
          </a:r>
          <a:r>
            <a:rPr lang="en-US" sz="2000" kern="1200" baseline="0" dirty="0"/>
            <a:t> </a:t>
          </a:r>
          <a:r>
            <a:rPr lang="en-US" sz="2000" b="1" kern="1200" baseline="0" dirty="0"/>
            <a:t>a lock </a:t>
          </a:r>
          <a:r>
            <a:rPr lang="en-US" sz="2000" kern="1200" baseline="0" dirty="0"/>
            <a:t>on the </a:t>
          </a:r>
          <a:r>
            <a:rPr lang="en-US" sz="2000" u="sng" kern="1200" baseline="0" dirty="0"/>
            <a:t>Part table</a:t>
          </a:r>
          <a:r>
            <a:rPr lang="en-US" sz="2000" kern="1200" baseline="0" dirty="0"/>
            <a:t>. </a:t>
          </a:r>
          <a:endParaRPr lang="en-US" sz="2000" kern="1200" dirty="0"/>
        </a:p>
        <a:p>
          <a:pPr marL="228600" lvl="1" indent="-228600" algn="l" defTabSz="889000">
            <a:lnSpc>
              <a:spcPct val="90000"/>
            </a:lnSpc>
            <a:spcBef>
              <a:spcPct val="0"/>
            </a:spcBef>
            <a:spcAft>
              <a:spcPct val="20000"/>
            </a:spcAft>
            <a:buChar char="•"/>
          </a:pPr>
          <a:r>
            <a:rPr lang="en-US" sz="2000" kern="1200" baseline="0" dirty="0"/>
            <a:t>Transaction 2 </a:t>
          </a:r>
          <a:r>
            <a:rPr lang="en-US" sz="2000" b="1" kern="1200" baseline="0" dirty="0"/>
            <a:t>holds</a:t>
          </a:r>
          <a:r>
            <a:rPr lang="en-US" sz="2000" kern="1200" baseline="0" dirty="0"/>
            <a:t> a lock on the </a:t>
          </a:r>
          <a:r>
            <a:rPr lang="en-US" sz="2000" u="sng" kern="1200" baseline="0" dirty="0"/>
            <a:t>Part table </a:t>
          </a:r>
          <a:r>
            <a:rPr lang="en-US" sz="2000" kern="1200" baseline="0" dirty="0"/>
            <a:t>and </a:t>
          </a:r>
          <a:r>
            <a:rPr lang="en-US" sz="2000" b="1" kern="1200" baseline="0" dirty="0"/>
            <a:t>wants a lock</a:t>
          </a:r>
          <a:r>
            <a:rPr lang="en-US" sz="2000" kern="1200" baseline="0" dirty="0"/>
            <a:t> on the </a:t>
          </a:r>
          <a:r>
            <a:rPr lang="en-US" sz="2000" u="sng" kern="1200" baseline="0" dirty="0"/>
            <a:t>Supplier table</a:t>
          </a:r>
          <a:endParaRPr lang="en-US" sz="2000" kern="1200" dirty="0"/>
        </a:p>
        <a:p>
          <a:pPr marL="228600" lvl="1" indent="-228600" algn="l" defTabSz="889000">
            <a:lnSpc>
              <a:spcPct val="90000"/>
            </a:lnSpc>
            <a:spcBef>
              <a:spcPct val="0"/>
            </a:spcBef>
            <a:spcAft>
              <a:spcPct val="20000"/>
            </a:spcAft>
            <a:buChar char="•"/>
          </a:pPr>
          <a:r>
            <a:rPr lang="en-US" sz="2000" kern="1200" baseline="0" dirty="0"/>
            <a:t>Both tasks cannot continue until a resource is available and the resources cannot be released until a task </a:t>
          </a:r>
          <a:r>
            <a:rPr lang="en-US" sz="2000" b="0" i="0" kern="1200" dirty="0"/>
            <a:t>continues</a:t>
          </a:r>
          <a:r>
            <a:rPr lang="en-US" sz="2000" kern="1200" baseline="0" dirty="0"/>
            <a:t>, and therefore a deadlock state exists</a:t>
          </a:r>
          <a:endParaRPr lang="en-US" sz="2000" kern="1200" dirty="0"/>
        </a:p>
      </dsp:txBody>
      <dsp:txXfrm>
        <a:off x="0" y="1706362"/>
        <a:ext cx="6296005" cy="262372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66C44-15DE-4843-83B0-FB9F5F0A0A1C}">
      <dsp:nvSpPr>
        <dsp:cNvPr id="0" name=""/>
        <dsp:cNvSpPr/>
      </dsp:nvSpPr>
      <dsp:spPr>
        <a:xfrm>
          <a:off x="0" y="9299"/>
          <a:ext cx="10880725" cy="879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ck monitor thread periodically perform deadlock detection in SQL Server.</a:t>
          </a:r>
          <a:endParaRPr lang="en-US" sz="2400" kern="1200" dirty="0"/>
        </a:p>
      </dsp:txBody>
      <dsp:txXfrm>
        <a:off x="42950" y="52249"/>
        <a:ext cx="10794825" cy="793940"/>
      </dsp:txXfrm>
    </dsp:sp>
    <dsp:sp modelId="{CE40A084-1F17-4281-8892-628A9B527DDC}">
      <dsp:nvSpPr>
        <dsp:cNvPr id="0" name=""/>
        <dsp:cNvSpPr/>
      </dsp:nvSpPr>
      <dsp:spPr>
        <a:xfrm>
          <a:off x="0" y="1024499"/>
          <a:ext cx="10880725" cy="879840"/>
        </a:xfrm>
        <a:prstGeom prst="round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ce flags 1222,1204.</a:t>
          </a:r>
          <a:endParaRPr lang="en-US" sz="2400" kern="1200" dirty="0"/>
        </a:p>
      </dsp:txBody>
      <dsp:txXfrm>
        <a:off x="42950" y="1067449"/>
        <a:ext cx="10794825" cy="793940"/>
      </dsp:txXfrm>
    </dsp:sp>
    <dsp:sp modelId="{D7247852-11B2-40BF-BE5F-8E3D7C233DCC}">
      <dsp:nvSpPr>
        <dsp:cNvPr id="0" name=""/>
        <dsp:cNvSpPr/>
      </dsp:nvSpPr>
      <dsp:spPr>
        <a:xfrm>
          <a:off x="0" y="2039699"/>
          <a:ext cx="10880725" cy="879840"/>
        </a:xfrm>
        <a:prstGeom prst="round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eadlocks are captured by the system health event session.</a:t>
          </a:r>
          <a:endParaRPr lang="en-US" sz="2400" kern="1200" dirty="0"/>
        </a:p>
      </dsp:txBody>
      <dsp:txXfrm>
        <a:off x="42950" y="2082649"/>
        <a:ext cx="10794825" cy="793940"/>
      </dsp:txXfrm>
    </dsp:sp>
    <dsp:sp modelId="{7F7332E1-F1C8-4D54-8E57-A847E37A5A8E}">
      <dsp:nvSpPr>
        <dsp:cNvPr id="0" name=""/>
        <dsp:cNvSpPr/>
      </dsp:nvSpPr>
      <dsp:spPr>
        <a:xfrm>
          <a:off x="0" y="3054900"/>
          <a:ext cx="10880725" cy="8798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When Deadlock occurs, SQL server returns 1205 error code to application.</a:t>
          </a:r>
          <a:endParaRPr lang="en-US" sz="2400" kern="1200" dirty="0"/>
        </a:p>
      </dsp:txBody>
      <dsp:txXfrm>
        <a:off x="42950" y="3097850"/>
        <a:ext cx="10794825" cy="793940"/>
      </dsp:txXfrm>
    </dsp:sp>
    <dsp:sp modelId="{EA9008CC-9376-4C18-AD19-5791C3576BF3}">
      <dsp:nvSpPr>
        <dsp:cNvPr id="0" name=""/>
        <dsp:cNvSpPr/>
      </dsp:nvSpPr>
      <dsp:spPr>
        <a:xfrm>
          <a:off x="0" y="3934740"/>
          <a:ext cx="10880725" cy="875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Applications should use retry logic.</a:t>
          </a:r>
          <a:endParaRPr lang="en-US" sz="2400" kern="1200" dirty="0"/>
        </a:p>
        <a:p>
          <a:pPr marL="228600" lvl="1" indent="-228600" algn="l" defTabSz="1066800">
            <a:lnSpc>
              <a:spcPct val="90000"/>
            </a:lnSpc>
            <a:spcBef>
              <a:spcPct val="0"/>
            </a:spcBef>
            <a:spcAft>
              <a:spcPct val="20000"/>
            </a:spcAft>
            <a:buChar char="•"/>
          </a:pPr>
          <a:r>
            <a:rPr lang="en-US" sz="2400" kern="1200" baseline="0" dirty="0"/>
            <a:t>Check for 1205 error code to resubmit the transaction.</a:t>
          </a:r>
          <a:endParaRPr lang="en-US" sz="2400" kern="1200" dirty="0"/>
        </a:p>
      </dsp:txBody>
      <dsp:txXfrm>
        <a:off x="0" y="3934740"/>
        <a:ext cx="10880725" cy="87561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7BEC-E8C2-4F88-A388-3787E296C939}">
      <dsp:nvSpPr>
        <dsp:cNvPr id="0" name=""/>
        <dsp:cNvSpPr/>
      </dsp:nvSpPr>
      <dsp:spPr>
        <a:xfrm>
          <a:off x="2" y="0"/>
          <a:ext cx="10880719" cy="4819650"/>
        </a:xfrm>
        <a:prstGeom prst="rect">
          <a:avLst/>
        </a:prstGeom>
        <a:solidFill>
          <a:schemeClr val="bg1"/>
        </a:solidFill>
        <a:ln>
          <a:noFill/>
        </a:ln>
        <a:effectLst/>
      </dsp:spPr>
      <dsp:style>
        <a:lnRef idx="0">
          <a:scrgbClr r="0" g="0" b="0"/>
        </a:lnRef>
        <a:fillRef idx="1">
          <a:scrgbClr r="0" g="0" b="0"/>
        </a:fillRef>
        <a:effectRef idx="0">
          <a:scrgbClr r="0" g="0" b="0"/>
        </a:effectRef>
        <a:fontRef idx="minor"/>
      </dsp:style>
    </dsp:sp>
    <dsp:sp modelId="{2DC26520-AA7B-4640-B497-A03AE4462517}">
      <dsp:nvSpPr>
        <dsp:cNvPr id="0" name=""/>
        <dsp:cNvSpPr/>
      </dsp:nvSpPr>
      <dsp:spPr>
        <a:xfrm>
          <a:off x="3808253" y="325470"/>
          <a:ext cx="3264217" cy="416870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baseline="0" dirty="0"/>
            <a:t>System Health Session</a:t>
          </a:r>
          <a:endParaRPr lang="en-US" sz="2400" kern="1200" dirty="0"/>
        </a:p>
        <a:p>
          <a:pPr marL="228600" lvl="1" indent="-228600" algn="l" defTabSz="889000">
            <a:lnSpc>
              <a:spcPct val="90000"/>
            </a:lnSpc>
            <a:spcBef>
              <a:spcPct val="0"/>
            </a:spcBef>
            <a:spcAft>
              <a:spcPct val="15000"/>
            </a:spcAft>
            <a:buNone/>
          </a:pPr>
          <a:r>
            <a:rPr lang="en-US" sz="2000" kern="1200" baseline="0" dirty="0"/>
            <a:t>xml_deadlock_report</a:t>
          </a:r>
          <a:endParaRPr lang="en-US" sz="2000" kern="1200" dirty="0"/>
        </a:p>
      </dsp:txBody>
      <dsp:txXfrm>
        <a:off x="3967599" y="484816"/>
        <a:ext cx="2945525" cy="3850016"/>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C5BE4-3413-4B3B-90AA-709C0C8D01A8}">
      <dsp:nvSpPr>
        <dsp:cNvPr id="0" name=""/>
        <dsp:cNvSpPr/>
      </dsp:nvSpPr>
      <dsp:spPr>
        <a:xfrm>
          <a:off x="0" y="66733"/>
          <a:ext cx="10880726" cy="59202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Use Trace Flag 1222 or 1204 to write deadlock information in SQL Server Error log.</a:t>
          </a:r>
          <a:endParaRPr lang="en-US" sz="2300" kern="1200" dirty="0"/>
        </a:p>
      </dsp:txBody>
      <dsp:txXfrm>
        <a:off x="28900" y="95633"/>
        <a:ext cx="10822926" cy="5342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83608-1B6C-4154-BA20-3434A42D2C9A}">
      <dsp:nvSpPr>
        <dsp:cNvPr id="0" name=""/>
        <dsp:cNvSpPr/>
      </dsp:nvSpPr>
      <dsp:spPr>
        <a:xfrm>
          <a:off x="0" y="17321"/>
          <a:ext cx="10880723" cy="7675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37467" y="54788"/>
        <a:ext cx="10805789" cy="692586"/>
      </dsp:txXfrm>
    </dsp:sp>
    <dsp:sp modelId="{2A62F114-3965-44AC-AE8E-1C7C4F243D39}">
      <dsp:nvSpPr>
        <dsp:cNvPr id="0" name=""/>
        <dsp:cNvSpPr/>
      </dsp:nvSpPr>
      <dsp:spPr>
        <a:xfrm>
          <a:off x="0" y="784841"/>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784841"/>
        <a:ext cx="10880723" cy="806265"/>
      </dsp:txXfrm>
    </dsp:sp>
    <dsp:sp modelId="{264F40D0-A7D0-460C-8850-834FB3F3E3EF}">
      <dsp:nvSpPr>
        <dsp:cNvPr id="0" name=""/>
        <dsp:cNvSpPr/>
      </dsp:nvSpPr>
      <dsp:spPr>
        <a:xfrm>
          <a:off x="0" y="1591106"/>
          <a:ext cx="10880723" cy="7675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37467" y="1628573"/>
        <a:ext cx="10805789" cy="692586"/>
      </dsp:txXfrm>
    </dsp:sp>
    <dsp:sp modelId="{8138CB3C-EF72-46AF-AF3F-5CA91D381467}">
      <dsp:nvSpPr>
        <dsp:cNvPr id="0" name=""/>
        <dsp:cNvSpPr/>
      </dsp:nvSpPr>
      <dsp:spPr>
        <a:xfrm>
          <a:off x="0" y="2358626"/>
          <a:ext cx="10880723" cy="869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3020" rIns="184912" bIns="33020" numCol="1" spcCol="1270" anchor="t" anchorCtr="0">
          <a:noAutofit/>
        </a:bodyPr>
        <a:lstStyle/>
        <a:p>
          <a:pPr marL="228600" lvl="1" indent="-228600" algn="l" defTabSz="1155700">
            <a:lnSpc>
              <a:spcPct val="90000"/>
            </a:lnSpc>
            <a:spcBef>
              <a:spcPct val="0"/>
            </a:spcBef>
            <a:spcAft>
              <a:spcPct val="20000"/>
            </a:spcAft>
            <a:buNone/>
          </a:pPr>
          <a:r>
            <a:rPr lang="en-US" sz="2600" kern="1200" dirty="0"/>
            <a:t>Transaction is explicitly defined with a BEGIN TRANSACTION and COMMIT TRANSACTION statement.</a:t>
          </a:r>
        </a:p>
      </dsp:txBody>
      <dsp:txXfrm>
        <a:off x="0" y="2358626"/>
        <a:ext cx="10880723" cy="869917"/>
      </dsp:txXfrm>
    </dsp:sp>
    <dsp:sp modelId="{5DF5FE24-4774-4F6A-B7C9-C52175E6BAE6}">
      <dsp:nvSpPr>
        <dsp:cNvPr id="0" name=""/>
        <dsp:cNvSpPr/>
      </dsp:nvSpPr>
      <dsp:spPr>
        <a:xfrm>
          <a:off x="0" y="3228543"/>
          <a:ext cx="10880723" cy="7675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37467" y="3266010"/>
        <a:ext cx="10805789" cy="692586"/>
      </dsp:txXfrm>
    </dsp:sp>
    <dsp:sp modelId="{D228669B-809F-4FF4-983F-C326EB7C8750}">
      <dsp:nvSpPr>
        <dsp:cNvPr id="0" name=""/>
        <dsp:cNvSpPr/>
      </dsp:nvSpPr>
      <dsp:spPr>
        <a:xfrm>
          <a:off x="0" y="3996063"/>
          <a:ext cx="10880723" cy="806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996063"/>
        <a:ext cx="10880723" cy="806265"/>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33F28-145A-439F-83A4-6AF84C970C3B}">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SQL Server automatically selects the transaction that is the cheapest to roll back.</a:t>
          </a:r>
          <a:endParaRPr lang="en-US" sz="2300" kern="1200" dirty="0"/>
        </a:p>
      </dsp:txBody>
      <dsp:txXfrm>
        <a:off x="0" y="199677"/>
        <a:ext cx="3400226" cy="2040135"/>
      </dsp:txXfrm>
    </dsp:sp>
    <dsp:sp modelId="{B430E5C7-AC55-4670-84E8-6FA26DE1BCB6}">
      <dsp:nvSpPr>
        <dsp:cNvPr id="0" name=""/>
        <dsp:cNvSpPr/>
      </dsp:nvSpPr>
      <dsp:spPr>
        <a:xfrm>
          <a:off x="3740249" y="199677"/>
          <a:ext cx="3400226" cy="2040135"/>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SET DEADLOCK_PRIORITY to change the likelihood of a batch being chosen as a victim.</a:t>
          </a:r>
          <a:endParaRPr lang="en-US" sz="2300" kern="1200" dirty="0"/>
        </a:p>
      </dsp:txBody>
      <dsp:txXfrm>
        <a:off x="3740249" y="199677"/>
        <a:ext cx="3400226" cy="2040135"/>
      </dsp:txXfrm>
    </dsp:sp>
    <dsp:sp modelId="{4B8B6BF5-5A45-49EE-89BA-9D4C7695037B}">
      <dsp:nvSpPr>
        <dsp:cNvPr id="0" name=""/>
        <dsp:cNvSpPr/>
      </dsp:nvSpPr>
      <dsp:spPr>
        <a:xfrm>
          <a:off x="7480498" y="199677"/>
          <a:ext cx="3400226" cy="2040135"/>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Access the resources in the same order.</a:t>
          </a:r>
          <a:endParaRPr lang="en-US" sz="2300" kern="1200" dirty="0"/>
        </a:p>
      </dsp:txBody>
      <dsp:txXfrm>
        <a:off x="7480498" y="199677"/>
        <a:ext cx="3400226" cy="2040135"/>
      </dsp:txXfrm>
    </dsp:sp>
    <dsp:sp modelId="{4A9B670D-CDEC-4AC8-91A6-CDD261812236}">
      <dsp:nvSpPr>
        <dsp:cNvPr id="0" name=""/>
        <dsp:cNvSpPr/>
      </dsp:nvSpPr>
      <dsp:spPr>
        <a:xfrm>
          <a:off x="1870124" y="2579836"/>
          <a:ext cx="3400226" cy="2040135"/>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Make the transactions simple and shorten the length of the transactions.</a:t>
          </a:r>
          <a:endParaRPr lang="en-US" sz="2300" kern="1200" dirty="0"/>
        </a:p>
      </dsp:txBody>
      <dsp:txXfrm>
        <a:off x="1870124" y="2579836"/>
        <a:ext cx="3400226" cy="2040135"/>
      </dsp:txXfrm>
    </dsp:sp>
    <dsp:sp modelId="{5A19B7D9-53A4-434B-A004-6760CF8C8B5D}">
      <dsp:nvSpPr>
        <dsp:cNvPr id="0" name=""/>
        <dsp:cNvSpPr/>
      </dsp:nvSpPr>
      <dsp:spPr>
        <a:xfrm>
          <a:off x="5610373" y="2579836"/>
          <a:ext cx="3400226" cy="2040135"/>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dirty="0"/>
            <a:t>Use error handlers to capture deadlocks.</a:t>
          </a:r>
          <a:endParaRPr lang="en-US" sz="2300" kern="1200" dirty="0"/>
        </a:p>
      </dsp:txBody>
      <dsp:txXfrm>
        <a:off x="5610373" y="2579836"/>
        <a:ext cx="3400226" cy="20401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405AB-F2AE-43B9-BCBA-5D5C084AA277}">
      <dsp:nvSpPr>
        <dsp:cNvPr id="0" name=""/>
        <dsp:cNvSpPr/>
      </dsp:nvSpPr>
      <dsp:spPr>
        <a:xfrm>
          <a:off x="0" y="235604"/>
          <a:ext cx="10880725" cy="5920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Each statement is either committed or rolled back automatically upon completion. </a:t>
          </a:r>
        </a:p>
      </dsp:txBody>
      <dsp:txXfrm>
        <a:off x="28900" y="264504"/>
        <a:ext cx="10822925" cy="534220"/>
      </dsp:txXfrm>
    </dsp:sp>
    <dsp:sp modelId="{4A7C77B9-2015-46EC-AE8E-5C6CE5EC760B}">
      <dsp:nvSpPr>
        <dsp:cNvPr id="0" name=""/>
        <dsp:cNvSpPr/>
      </dsp:nvSpPr>
      <dsp:spPr>
        <a:xfrm>
          <a:off x="0" y="893864"/>
          <a:ext cx="10880725" cy="592020"/>
        </a:xfrm>
        <a:prstGeom prst="roundRect">
          <a:avLst/>
        </a:prstGeom>
        <a:solidFill>
          <a:schemeClr val="accent2">
            <a:hueOff val="-533499"/>
            <a:satOff val="11076"/>
            <a:lumOff val="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 syntax error will result in a batch terminating error.</a:t>
          </a:r>
        </a:p>
      </dsp:txBody>
      <dsp:txXfrm>
        <a:off x="28900" y="922764"/>
        <a:ext cx="10822925" cy="534220"/>
      </dsp:txXfrm>
    </dsp:sp>
    <dsp:sp modelId="{BCEDD40F-B000-4F99-8B59-84B5689494FB}">
      <dsp:nvSpPr>
        <dsp:cNvPr id="0" name=""/>
        <dsp:cNvSpPr/>
      </dsp:nvSpPr>
      <dsp:spPr>
        <a:xfrm>
          <a:off x="0" y="14858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This will stop the entire batch from being executed.</a:t>
          </a:r>
        </a:p>
      </dsp:txBody>
      <dsp:txXfrm>
        <a:off x="0" y="1485884"/>
        <a:ext cx="10880725" cy="380880"/>
      </dsp:txXfrm>
    </dsp:sp>
    <dsp:sp modelId="{584F3C90-7C68-4C6B-A49A-D8991FE0E732}">
      <dsp:nvSpPr>
        <dsp:cNvPr id="0" name=""/>
        <dsp:cNvSpPr/>
      </dsp:nvSpPr>
      <dsp:spPr>
        <a:xfrm>
          <a:off x="0" y="1866764"/>
          <a:ext cx="10880725" cy="592020"/>
        </a:xfrm>
        <a:prstGeom prst="roundRect">
          <a:avLst/>
        </a:prstGeom>
        <a:solidFill>
          <a:schemeClr val="accent2">
            <a:hueOff val="-1066999"/>
            <a:satOff val="22153"/>
            <a:lumOff val="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 run-time error will result in a statement terminating error.</a:t>
          </a:r>
        </a:p>
      </dsp:txBody>
      <dsp:txXfrm>
        <a:off x="28900" y="1895664"/>
        <a:ext cx="10822925" cy="534220"/>
      </dsp:txXfrm>
    </dsp:sp>
    <dsp:sp modelId="{E57EF1F7-E361-48D9-8A86-E88FF253FA34}">
      <dsp:nvSpPr>
        <dsp:cNvPr id="0" name=""/>
        <dsp:cNvSpPr/>
      </dsp:nvSpPr>
      <dsp:spPr>
        <a:xfrm>
          <a:off x="0" y="2458784"/>
          <a:ext cx="10880725"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This might allow part of the batch to commit.</a:t>
          </a:r>
        </a:p>
      </dsp:txBody>
      <dsp:txXfrm>
        <a:off x="0" y="2458784"/>
        <a:ext cx="10880725" cy="380880"/>
      </dsp:txXfrm>
    </dsp:sp>
    <dsp:sp modelId="{6E47B004-2D7F-4852-9C58-AD6957926EB3}">
      <dsp:nvSpPr>
        <dsp:cNvPr id="0" name=""/>
        <dsp:cNvSpPr/>
      </dsp:nvSpPr>
      <dsp:spPr>
        <a:xfrm>
          <a:off x="0" y="2839664"/>
          <a:ext cx="10880725" cy="592020"/>
        </a:xfrm>
        <a:prstGeom prst="roundRect">
          <a:avLst/>
        </a:prstGeom>
        <a:solidFill>
          <a:schemeClr val="accent2">
            <a:hueOff val="-1600498"/>
            <a:satOff val="33229"/>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Database engine operates in autocommit until started an explicit transaction</a:t>
          </a:r>
        </a:p>
      </dsp:txBody>
      <dsp:txXfrm>
        <a:off x="28900" y="2868564"/>
        <a:ext cx="10822925" cy="534220"/>
      </dsp:txXfrm>
    </dsp:sp>
    <dsp:sp modelId="{14BFC39C-F540-434A-B663-DEDA45735C64}">
      <dsp:nvSpPr>
        <dsp:cNvPr id="0" name=""/>
        <dsp:cNvSpPr/>
      </dsp:nvSpPr>
      <dsp:spPr>
        <a:xfrm>
          <a:off x="0" y="3497924"/>
          <a:ext cx="10880725" cy="592020"/>
        </a:xfrm>
        <a:prstGeom prst="roundRect">
          <a:avLst/>
        </a:prstGeom>
        <a:solidFill>
          <a:schemeClr val="accent2">
            <a:hueOff val="-2133998"/>
            <a:satOff val="44306"/>
            <a:lumOff val="4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XACT_ABORT ON converts statement into batch terminating errors</a:t>
          </a:r>
        </a:p>
      </dsp:txBody>
      <dsp:txXfrm>
        <a:off x="28900" y="3526824"/>
        <a:ext cx="10822925" cy="534220"/>
      </dsp:txXfrm>
    </dsp:sp>
    <dsp:sp modelId="{5C24F798-63E8-4F2D-A6C9-D9791365492A}">
      <dsp:nvSpPr>
        <dsp:cNvPr id="0" name=""/>
        <dsp:cNvSpPr/>
      </dsp:nvSpPr>
      <dsp:spPr>
        <a:xfrm>
          <a:off x="0" y="4156184"/>
          <a:ext cx="10880725" cy="5920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Compilation errors not affected by XACT_ABORT ON</a:t>
          </a:r>
        </a:p>
      </dsp:txBody>
      <dsp:txXfrm>
        <a:off x="28900" y="4185084"/>
        <a:ext cx="10822925" cy="5342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CB23A6-4BA1-484E-B949-B0ACCF15C5DD}">
      <dsp:nvSpPr>
        <dsp:cNvPr id="0" name=""/>
        <dsp:cNvSpPr/>
      </dsp:nvSpPr>
      <dsp:spPr>
        <a:xfrm>
          <a:off x="0" y="238484"/>
          <a:ext cx="10880725" cy="40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5C1884-33DF-4460-9F8D-42B9A0E45C52}">
      <dsp:nvSpPr>
        <dsp:cNvPr id="0" name=""/>
        <dsp:cNvSpPr/>
      </dsp:nvSpPr>
      <dsp:spPr>
        <a:xfrm>
          <a:off x="535535" y="2324"/>
          <a:ext cx="10340401"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Begins with the BEGIN TRANSACTION statement</a:t>
          </a:r>
          <a:endParaRPr lang="en-US" sz="2400" kern="1200" dirty="0"/>
        </a:p>
      </dsp:txBody>
      <dsp:txXfrm>
        <a:off x="558592" y="25381"/>
        <a:ext cx="10294287" cy="426206"/>
      </dsp:txXfrm>
    </dsp:sp>
    <dsp:sp modelId="{1EF07366-0B18-44AC-B7AC-08FAB19B5C62}">
      <dsp:nvSpPr>
        <dsp:cNvPr id="0" name=""/>
        <dsp:cNvSpPr/>
      </dsp:nvSpPr>
      <dsp:spPr>
        <a:xfrm>
          <a:off x="0" y="964244"/>
          <a:ext cx="10880725" cy="403200"/>
        </a:xfrm>
        <a:prstGeom prst="rect">
          <a:avLst/>
        </a:prstGeom>
        <a:solidFill>
          <a:schemeClr val="lt1">
            <a:alpha val="90000"/>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8F9B72-EA67-4290-B3AF-3AF59E51B109}">
      <dsp:nvSpPr>
        <dsp:cNvPr id="0" name=""/>
        <dsp:cNvSpPr/>
      </dsp:nvSpPr>
      <dsp:spPr>
        <a:xfrm>
          <a:off x="518003" y="728085"/>
          <a:ext cx="10360054" cy="472320"/>
        </a:xfrm>
        <a:prstGeom prst="round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can be started with a mark</a:t>
          </a:r>
          <a:endParaRPr lang="en-US" sz="2400" kern="1200" dirty="0"/>
        </a:p>
      </dsp:txBody>
      <dsp:txXfrm>
        <a:off x="541060" y="751142"/>
        <a:ext cx="10313940" cy="426206"/>
      </dsp:txXfrm>
    </dsp:sp>
    <dsp:sp modelId="{934B6BF0-02BA-4C9C-BFF8-A6A69FD63CAC}">
      <dsp:nvSpPr>
        <dsp:cNvPr id="0" name=""/>
        <dsp:cNvSpPr/>
      </dsp:nvSpPr>
      <dsp:spPr>
        <a:xfrm>
          <a:off x="0" y="1690004"/>
          <a:ext cx="10880725" cy="4032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2AC7AE-B20D-4E2B-9EF0-1D48D8AEDC2F}">
      <dsp:nvSpPr>
        <dsp:cNvPr id="0" name=""/>
        <dsp:cNvSpPr/>
      </dsp:nvSpPr>
      <dsp:spPr>
        <a:xfrm>
          <a:off x="522784" y="1453845"/>
          <a:ext cx="10351317" cy="47232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have one or more statements</a:t>
          </a:r>
          <a:endParaRPr lang="en-US" sz="2400" kern="1200" dirty="0"/>
        </a:p>
      </dsp:txBody>
      <dsp:txXfrm>
        <a:off x="545841" y="1476902"/>
        <a:ext cx="10305203" cy="426206"/>
      </dsp:txXfrm>
    </dsp:sp>
    <dsp:sp modelId="{60F9DB79-16DB-4146-9F5D-AF2E8E1F4195}">
      <dsp:nvSpPr>
        <dsp:cNvPr id="0" name=""/>
        <dsp:cNvSpPr/>
      </dsp:nvSpPr>
      <dsp:spPr>
        <a:xfrm>
          <a:off x="0" y="2415764"/>
          <a:ext cx="10880725" cy="743400"/>
        </a:xfrm>
        <a:prstGeom prst="rect">
          <a:avLst/>
        </a:prstGeom>
        <a:solidFill>
          <a:schemeClr val="lt1">
            <a:alpha val="90000"/>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using COMMIT TRANSACTION or ROLLBACK TRANSACTION</a:t>
          </a:r>
          <a:endParaRPr lang="en-US" sz="1800" kern="1200" dirty="0"/>
        </a:p>
      </dsp:txBody>
      <dsp:txXfrm>
        <a:off x="0" y="2415764"/>
        <a:ext cx="10880725" cy="743400"/>
      </dsp:txXfrm>
    </dsp:sp>
    <dsp:sp modelId="{2CF3F87D-8AB4-4A86-8A38-7E38B9255551}">
      <dsp:nvSpPr>
        <dsp:cNvPr id="0" name=""/>
        <dsp:cNvSpPr/>
      </dsp:nvSpPr>
      <dsp:spPr>
        <a:xfrm>
          <a:off x="535004" y="2179604"/>
          <a:ext cx="10344598" cy="472320"/>
        </a:xfrm>
        <a:prstGeom prst="round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Need to explicitly commit or rollback the transaction </a:t>
          </a:r>
          <a:endParaRPr lang="en-US" sz="2400" kern="1200" dirty="0"/>
        </a:p>
      </dsp:txBody>
      <dsp:txXfrm>
        <a:off x="558061" y="2202661"/>
        <a:ext cx="10298484" cy="426206"/>
      </dsp:txXfrm>
    </dsp:sp>
    <dsp:sp modelId="{E132D200-DFFC-4D33-8DFA-5440B5DEB493}">
      <dsp:nvSpPr>
        <dsp:cNvPr id="0" name=""/>
        <dsp:cNvSpPr/>
      </dsp:nvSpPr>
      <dsp:spPr>
        <a:xfrm>
          <a:off x="0" y="3481725"/>
          <a:ext cx="10880725" cy="13356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a:t>SAVE TRANSACTION &lt;savepoint_name&gt;– to rollback a transaction to named Point</a:t>
          </a:r>
          <a:endParaRPr lang="en-US" sz="1800" kern="1200" dirty="0"/>
        </a:p>
        <a:p>
          <a:pPr marL="171450" lvl="1" indent="-171450" algn="l" defTabSz="800100">
            <a:lnSpc>
              <a:spcPct val="90000"/>
            </a:lnSpc>
            <a:spcBef>
              <a:spcPct val="0"/>
            </a:spcBef>
            <a:spcAft>
              <a:spcPct val="15000"/>
            </a:spcAft>
            <a:buChar char="•"/>
          </a:pPr>
          <a:r>
            <a:rPr lang="en-US" sz="1800" b="0" i="0" kern="1200"/>
            <a:t>BEGIN TRANSACTION &lt;transaction_name&gt;</a:t>
          </a:r>
          <a:r>
            <a:rPr lang="en-US" sz="1800" kern="1200" baseline="0"/>
            <a:t>WITH MARK [ '</a:t>
          </a:r>
          <a:r>
            <a:rPr lang="en-US" sz="1800" i="1" kern="1200" baseline="0"/>
            <a:t>description</a:t>
          </a:r>
          <a:r>
            <a:rPr lang="en-US" sz="1800" kern="1200" baseline="0"/>
            <a:t>’ ] – to specify transaction marked in log</a:t>
          </a:r>
          <a:endParaRPr lang="en-US" sz="1800" kern="1200" dirty="0"/>
        </a:p>
      </dsp:txBody>
      <dsp:txXfrm>
        <a:off x="0" y="3481725"/>
        <a:ext cx="10880725" cy="1335600"/>
      </dsp:txXfrm>
    </dsp:sp>
    <dsp:sp modelId="{840C7312-A838-404A-AE28-35E28197F07D}">
      <dsp:nvSpPr>
        <dsp:cNvPr id="0" name=""/>
        <dsp:cNvSpPr/>
      </dsp:nvSpPr>
      <dsp:spPr>
        <a:xfrm>
          <a:off x="518003" y="3245565"/>
          <a:ext cx="10360054" cy="47232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Can also use </a:t>
          </a:r>
          <a:endParaRPr lang="en-US" sz="2400" kern="1200" dirty="0"/>
        </a:p>
      </dsp:txBody>
      <dsp:txXfrm>
        <a:off x="541060" y="3268622"/>
        <a:ext cx="10313940" cy="4262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4CB2C1-F30D-4AC7-A0F8-59EE7430C923}">
      <dsp:nvSpPr>
        <dsp:cNvPr id="0" name=""/>
        <dsp:cNvSpPr/>
      </dsp:nvSpPr>
      <dsp:spPr>
        <a:xfrm>
          <a:off x="0" y="383745"/>
          <a:ext cx="10880725"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quivalent to an unseen BEGIN TRANSACTION being executed</a:t>
          </a:r>
          <a:endParaRPr lang="en-US" sz="2400" kern="1200" dirty="0"/>
        </a:p>
      </dsp:txBody>
      <dsp:txXfrm>
        <a:off x="30157" y="413902"/>
        <a:ext cx="10820411" cy="557445"/>
      </dsp:txXfrm>
    </dsp:sp>
    <dsp:sp modelId="{FE7D1977-79B8-4B91-83C4-1F350233D3B8}">
      <dsp:nvSpPr>
        <dsp:cNvPr id="0" name=""/>
        <dsp:cNvSpPr/>
      </dsp:nvSpPr>
      <dsp:spPr>
        <a:xfrm>
          <a:off x="0" y="1070625"/>
          <a:ext cx="10880725"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ansaction starts automatically once first statement of a batch is received</a:t>
          </a:r>
          <a:endParaRPr lang="en-US" sz="2400" kern="1200" dirty="0"/>
        </a:p>
      </dsp:txBody>
      <dsp:txXfrm>
        <a:off x="30157" y="1100782"/>
        <a:ext cx="10820411" cy="557445"/>
      </dsp:txXfrm>
    </dsp:sp>
    <dsp:sp modelId="{38C3FDDB-E1F7-44A3-9212-CCCE69CD06CD}">
      <dsp:nvSpPr>
        <dsp:cNvPr id="0" name=""/>
        <dsp:cNvSpPr/>
      </dsp:nvSpPr>
      <dsp:spPr>
        <a:xfrm>
          <a:off x="0" y="1757505"/>
          <a:ext cx="10880725" cy="61775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ET IMPLICIT_TRANSACTIONS ON used at statement level</a:t>
          </a:r>
          <a:endParaRPr lang="en-US" sz="2400" kern="1200" dirty="0"/>
        </a:p>
      </dsp:txBody>
      <dsp:txXfrm>
        <a:off x="30157" y="1787662"/>
        <a:ext cx="10820411" cy="557445"/>
      </dsp:txXfrm>
    </dsp:sp>
    <dsp:sp modelId="{D6E98A84-729D-4C08-A88B-C8054F16ABD5}">
      <dsp:nvSpPr>
        <dsp:cNvPr id="0" name=""/>
        <dsp:cNvSpPr/>
      </dsp:nvSpPr>
      <dsp:spPr>
        <a:xfrm>
          <a:off x="0" y="2444385"/>
          <a:ext cx="10880725" cy="61775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nabled at Server level by using </a:t>
          </a:r>
          <a:r>
            <a:rPr lang="fr-FR" sz="2400" kern="1200" baseline="0" dirty="0"/>
            <a:t>sp_configure 'user options’ , 2 </a:t>
          </a:r>
          <a:endParaRPr lang="en-US" sz="2400" kern="1200" dirty="0"/>
        </a:p>
      </dsp:txBody>
      <dsp:txXfrm>
        <a:off x="30157" y="2474542"/>
        <a:ext cx="10820411" cy="557445"/>
      </dsp:txXfrm>
    </dsp:sp>
    <dsp:sp modelId="{FEAEE667-0626-4B18-BEC4-8BBF26B08E5F}">
      <dsp:nvSpPr>
        <dsp:cNvPr id="0" name=""/>
        <dsp:cNvSpPr/>
      </dsp:nvSpPr>
      <dsp:spPr>
        <a:xfrm>
          <a:off x="0" y="3131264"/>
          <a:ext cx="10880725" cy="617759"/>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t can be symptom of severe blocking issues on the server</a:t>
          </a:r>
          <a:endParaRPr lang="en-US" sz="2400" kern="1200" dirty="0"/>
        </a:p>
      </dsp:txBody>
      <dsp:txXfrm>
        <a:off x="30157" y="3161421"/>
        <a:ext cx="10820411" cy="557445"/>
      </dsp:txXfrm>
    </dsp:sp>
    <dsp:sp modelId="{8BB65E43-6A13-4BEF-A176-9D9B3CF9AB26}">
      <dsp:nvSpPr>
        <dsp:cNvPr id="0" name=""/>
        <dsp:cNvSpPr/>
      </dsp:nvSpPr>
      <dsp:spPr>
        <a:xfrm>
          <a:off x="0" y="3818145"/>
          <a:ext cx="10880725"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Must use commit after SELECTs or DML, otherwise transaction remains open</a:t>
          </a:r>
          <a:endParaRPr lang="en-US" sz="2400" kern="1200" dirty="0"/>
        </a:p>
      </dsp:txBody>
      <dsp:txXfrm>
        <a:off x="30157" y="3848302"/>
        <a:ext cx="10820411" cy="5574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51440-D399-43E5-B520-B4B70F08C09A}">
      <dsp:nvSpPr>
        <dsp:cNvPr id="0" name=""/>
        <dsp:cNvSpPr/>
      </dsp:nvSpPr>
      <dsp:spPr>
        <a:xfrm>
          <a:off x="0" y="17526"/>
          <a:ext cx="10880726" cy="61775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Keep transactions as short as possible</a:t>
          </a:r>
          <a:endParaRPr lang="en-US" sz="2400" kern="1200" dirty="0"/>
        </a:p>
      </dsp:txBody>
      <dsp:txXfrm>
        <a:off x="30157" y="47683"/>
        <a:ext cx="10820412" cy="557445"/>
      </dsp:txXfrm>
    </dsp:sp>
    <dsp:sp modelId="{F6FA02FB-FEA6-4B10-978B-70072FEF2CF0}">
      <dsp:nvSpPr>
        <dsp:cNvPr id="0" name=""/>
        <dsp:cNvSpPr/>
      </dsp:nvSpPr>
      <dsp:spPr>
        <a:xfrm>
          <a:off x="0" y="635286"/>
          <a:ext cx="10880726"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Do not require user input</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a transaction while browsing through data</a:t>
          </a:r>
          <a:endParaRPr lang="en-US" sz="1900" kern="1200" dirty="0"/>
        </a:p>
        <a:p>
          <a:pPr marL="171450" lvl="1" indent="-171450" algn="l" defTabSz="844550">
            <a:lnSpc>
              <a:spcPct val="90000"/>
            </a:lnSpc>
            <a:spcBef>
              <a:spcPct val="0"/>
            </a:spcBef>
            <a:spcAft>
              <a:spcPct val="20000"/>
            </a:spcAft>
            <a:buChar char="•"/>
          </a:pPr>
          <a:r>
            <a:rPr lang="en-US" sz="1900" kern="1200" baseline="0" dirty="0"/>
            <a:t>Access the least amount of data possible</a:t>
          </a:r>
          <a:endParaRPr lang="en-US" sz="1900" kern="1200" dirty="0"/>
        </a:p>
        <a:p>
          <a:pPr marL="171450" lvl="1" indent="-171450" algn="l" defTabSz="844550">
            <a:lnSpc>
              <a:spcPct val="90000"/>
            </a:lnSpc>
            <a:spcBef>
              <a:spcPct val="0"/>
            </a:spcBef>
            <a:spcAft>
              <a:spcPct val="20000"/>
            </a:spcAft>
            <a:buChar char="•"/>
          </a:pPr>
          <a:r>
            <a:rPr lang="en-US" sz="1900" kern="1200" baseline="0" dirty="0"/>
            <a:t>Do not open the transaction before it is required</a:t>
          </a:r>
          <a:endParaRPr lang="en-US" sz="1900" kern="1200" dirty="0"/>
        </a:p>
        <a:p>
          <a:pPr marL="171450" lvl="1" indent="-171450" algn="l" defTabSz="844550">
            <a:lnSpc>
              <a:spcPct val="90000"/>
            </a:lnSpc>
            <a:spcBef>
              <a:spcPct val="0"/>
            </a:spcBef>
            <a:spcAft>
              <a:spcPct val="20000"/>
            </a:spcAft>
            <a:buChar char="•"/>
          </a:pPr>
          <a:r>
            <a:rPr lang="en-US" sz="1900" kern="1200" baseline="0" dirty="0"/>
            <a:t>Ensure that appropriate indexing is in place </a:t>
          </a:r>
          <a:endParaRPr lang="en-US" sz="1900" kern="1200" dirty="0"/>
        </a:p>
      </dsp:txBody>
      <dsp:txXfrm>
        <a:off x="0" y="635286"/>
        <a:ext cx="10880726" cy="1788480"/>
      </dsp:txXfrm>
    </dsp:sp>
    <dsp:sp modelId="{13D14AB9-31D2-4023-BDA9-10B16CF33180}">
      <dsp:nvSpPr>
        <dsp:cNvPr id="0" name=""/>
        <dsp:cNvSpPr/>
      </dsp:nvSpPr>
      <dsp:spPr>
        <a:xfrm>
          <a:off x="0" y="2423767"/>
          <a:ext cx="10880726"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ry to access resources in the same order</a:t>
          </a:r>
          <a:endParaRPr lang="en-US" sz="2400" kern="1200" dirty="0"/>
        </a:p>
      </dsp:txBody>
      <dsp:txXfrm>
        <a:off x="30157" y="2453924"/>
        <a:ext cx="10820412" cy="557445"/>
      </dsp:txXfrm>
    </dsp:sp>
    <dsp:sp modelId="{535064DF-4278-4F9E-8019-C6D6DEA2C87E}">
      <dsp:nvSpPr>
        <dsp:cNvPr id="0" name=""/>
        <dsp:cNvSpPr/>
      </dsp:nvSpPr>
      <dsp:spPr>
        <a:xfrm>
          <a:off x="0" y="3041527"/>
          <a:ext cx="10880726"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Wherever possible access resources in the same order to avoid Deadlocks</a:t>
          </a:r>
          <a:endParaRPr lang="en-US" sz="1900" kern="1200" dirty="0"/>
        </a:p>
      </dsp:txBody>
      <dsp:txXfrm>
        <a:off x="0" y="3041527"/>
        <a:ext cx="10880726" cy="3974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26674"/>
          <a:ext cx="10880725"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default transaction mode in SQL Server?</a:t>
          </a:r>
          <a:endParaRPr lang="en-US" sz="2400" b="0" kern="1200" dirty="0"/>
        </a:p>
      </dsp:txBody>
      <dsp:txXfrm>
        <a:off x="59399" y="486073"/>
        <a:ext cx="10761927" cy="1098002"/>
      </dsp:txXfrm>
    </dsp:sp>
    <dsp:sp modelId="{0E5177C7-801D-471B-9850-4FD8DFBC4036}">
      <dsp:nvSpPr>
        <dsp:cNvPr id="0" name=""/>
        <dsp:cNvSpPr/>
      </dsp:nvSpPr>
      <dsp:spPr>
        <a:xfrm>
          <a:off x="0" y="1830675"/>
          <a:ext cx="10880725"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ill the transaction count be after the following code is executed?</a:t>
          </a: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59399" y="1890074"/>
        <a:ext cx="10761927" cy="1098002"/>
      </dsp:txXfrm>
    </dsp:sp>
    <dsp:sp modelId="{C2412117-FADA-41A5-A64B-12BECCFFCE29}">
      <dsp:nvSpPr>
        <dsp:cNvPr id="0" name=""/>
        <dsp:cNvSpPr/>
      </dsp:nvSpPr>
      <dsp:spPr>
        <a:xfrm>
          <a:off x="0" y="3047475"/>
          <a:ext cx="10880725"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a:p>
          <a:pPr marL="228600" lvl="1" indent="-228600" algn="l" defTabSz="1066800">
            <a:lnSpc>
              <a:spcPct val="90000"/>
            </a:lnSpc>
            <a:spcBef>
              <a:spcPct val="0"/>
            </a:spcBef>
            <a:spcAft>
              <a:spcPct val="20000"/>
            </a:spcAft>
            <a:buNone/>
          </a:pPr>
          <a:endParaRPr lang="en-US" sz="2400" b="0" kern="1200" dirty="0">
            <a:solidFill>
              <a:srgbClr val="FFFFFF"/>
            </a:solidFill>
            <a:latin typeface="Segoe UI Light" panose="020B0502040204020203" pitchFamily="34" charset="0"/>
            <a:ea typeface="+mn-ea"/>
            <a:cs typeface="Segoe UI Light" panose="020B0502040204020203" pitchFamily="34" charset="0"/>
          </a:endParaRPr>
        </a:p>
      </dsp:txBody>
      <dsp:txXfrm>
        <a:off x="0" y="3047475"/>
        <a:ext cx="10880725" cy="13455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14EE9-8CEA-4FE1-A282-E52D09F41CB2}">
      <dsp:nvSpPr>
        <dsp:cNvPr id="0" name=""/>
        <dsp:cNvSpPr/>
      </dsp:nvSpPr>
      <dsp:spPr>
        <a:xfrm>
          <a:off x="4090" y="305920"/>
          <a:ext cx="2459851" cy="48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Dirty Read</a:t>
          </a:r>
        </a:p>
      </dsp:txBody>
      <dsp:txXfrm>
        <a:off x="4090" y="305920"/>
        <a:ext cx="2459851" cy="489600"/>
      </dsp:txXfrm>
    </dsp:sp>
    <dsp:sp modelId="{3700A0C2-E7B5-45CB-85A0-539908F7F0CC}">
      <dsp:nvSpPr>
        <dsp:cNvPr id="0" name=""/>
        <dsp:cNvSpPr/>
      </dsp:nvSpPr>
      <dsp:spPr>
        <a:xfrm>
          <a:off x="4090" y="795520"/>
          <a:ext cx="2459851" cy="314328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t>The values retrieved may reflect uncommitted changes that could be rolled back.</a:t>
          </a:r>
        </a:p>
      </dsp:txBody>
      <dsp:txXfrm>
        <a:off x="4090" y="795520"/>
        <a:ext cx="2459851" cy="3143286"/>
      </dsp:txXfrm>
    </dsp:sp>
    <dsp:sp modelId="{C72747A7-F199-494B-804F-719773B78941}">
      <dsp:nvSpPr>
        <dsp:cNvPr id="0" name=""/>
        <dsp:cNvSpPr/>
      </dsp:nvSpPr>
      <dsp:spPr>
        <a:xfrm>
          <a:off x="2808321" y="305920"/>
          <a:ext cx="2459851" cy="48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Font typeface="Arial" panose="020B0604020202020204" pitchFamily="34" charset="0"/>
            <a:buNone/>
          </a:pPr>
          <a:r>
            <a:rPr lang="en-US" sz="1700" kern="1200" dirty="0"/>
            <a:t>Lost Update:</a:t>
          </a:r>
        </a:p>
      </dsp:txBody>
      <dsp:txXfrm>
        <a:off x="2808321" y="305920"/>
        <a:ext cx="2459851" cy="489600"/>
      </dsp:txXfrm>
    </dsp:sp>
    <dsp:sp modelId="{BAAD382C-9902-4641-BDBD-37B317C0E0C6}">
      <dsp:nvSpPr>
        <dsp:cNvPr id="0" name=""/>
        <dsp:cNvSpPr/>
      </dsp:nvSpPr>
      <dsp:spPr>
        <a:xfrm>
          <a:off x="2808321" y="795520"/>
          <a:ext cx="2459851" cy="314328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roblem occurs when there are two transactions are unaware of each other. </a:t>
          </a:r>
        </a:p>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Later transaction overwrites the earlier update..</a:t>
          </a:r>
        </a:p>
      </dsp:txBody>
      <dsp:txXfrm>
        <a:off x="2808321" y="795520"/>
        <a:ext cx="2459851" cy="3143286"/>
      </dsp:txXfrm>
    </dsp:sp>
    <dsp:sp modelId="{82670590-9295-4F59-9A04-1DFB9A970D49}">
      <dsp:nvSpPr>
        <dsp:cNvPr id="0" name=""/>
        <dsp:cNvSpPr/>
      </dsp:nvSpPr>
      <dsp:spPr>
        <a:xfrm>
          <a:off x="5612552" y="305920"/>
          <a:ext cx="2459851" cy="489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Non-Repeatable Read</a:t>
          </a:r>
        </a:p>
      </dsp:txBody>
      <dsp:txXfrm>
        <a:off x="5612552" y="305920"/>
        <a:ext cx="2459851" cy="489600"/>
      </dsp:txXfrm>
    </dsp:sp>
    <dsp:sp modelId="{959AD79C-2C17-440A-A052-B160D3005D09}">
      <dsp:nvSpPr>
        <dsp:cNvPr id="0" name=""/>
        <dsp:cNvSpPr/>
      </dsp:nvSpPr>
      <dsp:spPr>
        <a:xfrm>
          <a:off x="5612552" y="795520"/>
          <a:ext cx="2459851" cy="3143286"/>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Data may change between two reads.</a:t>
          </a:r>
        </a:p>
        <a:p>
          <a:pPr marL="171450" lvl="1" indent="-171450" algn="l" defTabSz="755650">
            <a:lnSpc>
              <a:spcPct val="90000"/>
            </a:lnSpc>
            <a:spcBef>
              <a:spcPct val="0"/>
            </a:spcBef>
            <a:spcAft>
              <a:spcPct val="15000"/>
            </a:spcAft>
            <a:buChar char="•"/>
          </a:pPr>
          <a:r>
            <a:rPr lang="en-US" sz="1700" kern="1200"/>
            <a:t>If you execute a SELECT twice within a single transaction, the values returned may differ as other processes could have modify data between SELECTs.</a:t>
          </a:r>
        </a:p>
      </dsp:txBody>
      <dsp:txXfrm>
        <a:off x="5612552" y="795520"/>
        <a:ext cx="2459851" cy="3143286"/>
      </dsp:txXfrm>
    </dsp:sp>
    <dsp:sp modelId="{8F2B4E14-28F7-4589-BE07-BEDC541B42AD}">
      <dsp:nvSpPr>
        <dsp:cNvPr id="0" name=""/>
        <dsp:cNvSpPr/>
      </dsp:nvSpPr>
      <dsp:spPr>
        <a:xfrm>
          <a:off x="8416783" y="305920"/>
          <a:ext cx="2459851"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Phantom Read</a:t>
          </a:r>
        </a:p>
      </dsp:txBody>
      <dsp:txXfrm>
        <a:off x="8416783" y="305920"/>
        <a:ext cx="2459851" cy="489600"/>
      </dsp:txXfrm>
    </dsp:sp>
    <dsp:sp modelId="{66F99EEA-1E0C-45EB-AE45-77B86E8416BB}">
      <dsp:nvSpPr>
        <dsp:cNvPr id="0" name=""/>
        <dsp:cNvSpPr/>
      </dsp:nvSpPr>
      <dsp:spPr>
        <a:xfrm>
          <a:off x="8416783" y="795520"/>
          <a:ext cx="2459851" cy="3143286"/>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If a range query is repeated within a single transaction, it may return additional rows not present in the first results.</a:t>
          </a:r>
        </a:p>
        <a:p>
          <a:pPr marL="171450" lvl="1" indent="-171450" algn="l" defTabSz="755650">
            <a:lnSpc>
              <a:spcPct val="90000"/>
            </a:lnSpc>
            <a:spcBef>
              <a:spcPct val="0"/>
            </a:spcBef>
            <a:spcAft>
              <a:spcPct val="15000"/>
            </a:spcAft>
            <a:buChar char="•"/>
          </a:pPr>
          <a:r>
            <a:rPr lang="en-US" sz="1700" kern="1200"/>
            <a:t>It’s still possible that another session can insert rows that belongs to the range of the initial select. </a:t>
          </a:r>
        </a:p>
      </dsp:txBody>
      <dsp:txXfrm>
        <a:off x="8416783" y="795520"/>
        <a:ext cx="2459851" cy="314328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07.04.2023</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4/7/2023</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122(v=sql.105)?redirectedfrom=MSDN"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08-r2/ms189050(v=sql.105)?redirectedfrom=MSDN"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previous-versions/sql/compact/sql-server-compact-4.0/ms171845(v=sql.110)?redirectedfrom=MSDN"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dotnet/framework/data/adonet/transactions-and-concurrency"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s://docs.microsoft.com/en-us/sql/connect/jdbc/understanding-concurrency-control?view=sql-server-ver15" TargetMode="External"/><Relationship Id="rId4" Type="http://schemas.openxmlformats.org/officeDocument/2006/relationships/hyperlink" Target="https://docs.microsoft.com/en-us/dotnet/framework/data/adonet/optimistic-concurrency"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9050(v=sql.105)?redirectedfrom=MSDN"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cking-and-row-versioning-guide?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s186396.aspx"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sql/database-engine/configure-windows/configure-the-locks-server-configuration-option?redirectedfrom=MSDN&amp;view=sql-server-ver15"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84286(v=sql.105)?redirectedfrom=MSDN"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docs.microsoft.com/en-us/sql/relational-databases/event-classes/lock-escalation-event-class?redirectedfrom=MSDN&amp;view=sql-server-ver15"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msdn.microsoft.com/en-us/library/ms184286.aspx"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msdn.microsoft.com/en-us/library/ms190723.aspx"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t-sql/queries/hints-transact-sql-table?view=sql-server-ver15"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logs/control-transaction-durability?view=sql-server-ver15#delayed-transaction-durability"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7" Type="http://schemas.openxmlformats.org/officeDocument/2006/relationships/hyperlink" Target="https://docs.microsoft.com/en-us/sql/relational-databases/system-dynamic-management-views/sys-dm-exec-requests-transact-sql?redirectedfrom=MSDN&amp;view=sql-server-ver15"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s://docs.microsoft.com/en-us/sql/relational-databases/system-dynamic-management-views/sys-dm-os-waiting-tasks-transact-sql?redirectedfrom=MSDN&amp;view=sql-server-ver15" TargetMode="External"/><Relationship Id="rId5" Type="http://schemas.openxmlformats.org/officeDocument/2006/relationships/hyperlink" Target="https://docs.microsoft.com/en-us/sql/relational-databases/system-dynamic-management-views/sys-dm-tran-locks-transact-sql?redirectedfrom=MSDN&amp;view=sql-server-ver15" TargetMode="External"/><Relationship Id="rId4" Type="http://schemas.openxmlformats.org/officeDocument/2006/relationships/hyperlink" Target="https://docs.microsoft.com/en-us/sql/relational-databases/event-classes/blocked-process-report-event-class?view=sql-server-ver15"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support.microsoft.com/en-us/help/224453/inf-understanding-and-resolving-sql-server-blocking-problems"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previous-versions/technet-magazine/cc434694(v=msdn.10)?redirectedfrom=MSDN"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docs.microsoft.com/en-us/previous-versions/technet-magazine/hh750281(v=msdn.10)?redirectedfrom=MSDN"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www.sqlskills.com/blogs/jonathan/post/An-XEvent-a-Day-(13-of-31)-The-system_health-Session.aspx"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78104(v=sql.105)?redirectedfrom=MSDN"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t-sql/statements/set-implicit-transactions-transact-sql?redirectedfrom=MSDN&amp;view=sql-server-ver15"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buFont typeface="Arial" panose="020B0604020202020204" pitchFamily="34" charset="0"/>
              <a:buChar char="•"/>
            </a:pPr>
            <a:r>
              <a:rPr lang="en-US" dirty="0"/>
              <a:t>Dirty Read: Other users can see uncommitted data.</a:t>
            </a:r>
          </a:p>
          <a:p>
            <a:pPr marL="438912" lvl="1" indent="-228600">
              <a:buFont typeface="Arial" panose="020B0604020202020204" pitchFamily="34" charset="0"/>
              <a:buChar char="•"/>
            </a:pPr>
            <a:r>
              <a:rPr lang="en-US" dirty="0"/>
              <a:t>Lost Update: Problem occurs when there are two transactions are unaware of each other. Later transaction overwrites the earlier update..</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Non-Repeatable Read: Update made by another session  can be seen by transaction which are not completed yet.</a:t>
            </a:r>
          </a:p>
          <a:p>
            <a:pPr marL="438912" marR="0" lvl="1" indent="-22860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Phantom Read: Insert made by another session can be seen by session whose transaction is not completed ye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dirty="0"/>
          </a:p>
          <a:p>
            <a:pPr marL="228600" indent="-228600">
              <a:buAutoNum type="arabicPeriod"/>
            </a:pPr>
            <a:endParaRPr lang="en-US" dirty="0"/>
          </a:p>
          <a:p>
            <a:pPr marL="228600" indent="-228600">
              <a:buAutoNum type="arabicPeriod"/>
            </a:pP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dirty="0"/>
          </a:p>
        </p:txBody>
      </p:sp>
    </p:spTree>
    <p:extLst>
      <p:ext uri="{BB962C8B-B14F-4D97-AF65-F5344CB8AC3E}">
        <p14:creationId xmlns:p14="http://schemas.microsoft.com/office/powerpoint/2010/main" val="39787936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An isolation level defines the degree to which one transaction must be isolated from resource or data modifications made by other transactions. </a:t>
            </a:r>
          </a:p>
          <a:p>
            <a:pPr marL="381762" lvl="1"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By default, SQL Server operates at an isolation level of READ COMMITTED.</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Isolation levels are described in terms of which concurrency side-effects, such as dirty reads or phantom reads, are allowed. </a:t>
            </a:r>
          </a:p>
          <a:p>
            <a:r>
              <a:rPr lang="en-US" dirty="0">
                <a:latin typeface="Segoe UI" panose="020B0502040204020203" pitchFamily="34" charset="0"/>
                <a:cs typeface="Segoe UI" panose="020B0502040204020203" pitchFamily="34" charset="0"/>
              </a:rPr>
              <a:t>To make use of either more or less-strict isolation levels in applications, you can customize locking for an entire session by setting the isolation level of the session with </a:t>
            </a:r>
            <a:r>
              <a:rPr lang="en-US" b="1" dirty="0">
                <a:latin typeface="Segoe UI" panose="020B0502040204020203" pitchFamily="34" charset="0"/>
                <a:cs typeface="Segoe UI" panose="020B0502040204020203" pitchFamily="34" charset="0"/>
              </a:rPr>
              <a:t>the SET TRANSACTION ISOLATION LEVEL </a:t>
            </a:r>
            <a:r>
              <a:rPr lang="en-US" dirty="0">
                <a:latin typeface="Segoe UI" panose="020B0502040204020203" pitchFamily="34" charset="0"/>
                <a:cs typeface="Segoe UI" panose="020B0502040204020203" pitchFamily="34" charset="0"/>
              </a:rPr>
              <a:t>statement. </a:t>
            </a:r>
          </a:p>
          <a:p>
            <a:r>
              <a:rPr lang="en-US" b="1" dirty="0">
                <a:latin typeface="Segoe UI" panose="020B0502040204020203" pitchFamily="34" charset="0"/>
                <a:cs typeface="Segoe UI" panose="020B0502040204020203" pitchFamily="34" charset="0"/>
              </a:rPr>
              <a:t>SNAPSHOT isolation is not an ANSI standard isolation level</a:t>
            </a:r>
            <a:r>
              <a:rPr lang="en-US" dirty="0">
                <a:latin typeface="Segoe UI" panose="020B0502040204020203" pitchFamily="34" charset="0"/>
                <a:cs typeface="Segoe UI" panose="020B0502040204020203" pitchFamily="34" charset="0"/>
              </a:rPr>
              <a:t>,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Isolation Levels in the Database Engine,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122(v=sql.105)?redirectedfrom=MSDN</a:t>
            </a:r>
            <a:endParaRPr lang="en-US" dirty="0"/>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4"/>
              </a:rPr>
              <a:t>https://docs.microsoft.com/en-us/previous-versions/sql/sql-server-2008-r2/ms189050(v=sql.105)?redirectedfrom=MSDN</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dirty="0"/>
          </a:p>
        </p:txBody>
      </p:sp>
    </p:spTree>
    <p:extLst>
      <p:ext uri="{BB962C8B-B14F-4D97-AF65-F5344CB8AC3E}">
        <p14:creationId xmlns:p14="http://schemas.microsoft.com/office/powerpoint/2010/main" val="2634114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Concurrency</a:t>
            </a:r>
          </a:p>
          <a:p>
            <a:r>
              <a:rPr lang="en-US" dirty="0">
                <a:hlinkClick r:id="rId3"/>
              </a:rPr>
              <a:t>https://docs.microsoft.com/en-us/previous-versions/sql/compact/sql-server-compact-4.0/ms171845(v=sql.110)</a:t>
            </a:r>
            <a:r>
              <a:rPr lang="en-US" dirty="0"/>
              <a:t> </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dirty="0"/>
          </a:p>
        </p:txBody>
      </p:sp>
    </p:spTree>
    <p:extLst>
      <p:ext uri="{BB962C8B-B14F-4D97-AF65-F5344CB8AC3E}">
        <p14:creationId xmlns:p14="http://schemas.microsoft.com/office/powerpoint/2010/main" val="479966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t>Key Points</a:t>
            </a:r>
            <a:r>
              <a:rPr lang="en-US" sz="1050" dirty="0"/>
              <a:t>: Concurrency is controlled using </a:t>
            </a:r>
            <a:r>
              <a:rPr lang="en-US" sz="1050" b="0" i="0" kern="1200" baseline="0" dirty="0">
                <a:solidFill>
                  <a:schemeClr val="tx1"/>
                </a:solidFill>
                <a:effectLst/>
                <a:latin typeface="+mn-lt"/>
                <a:ea typeface="+mn-ea"/>
                <a:cs typeface="+mn-cs"/>
              </a:rPr>
              <a:t>isolation level </a:t>
            </a:r>
          </a:p>
          <a:p>
            <a:endParaRPr lang="en-US" sz="1050" b="0" i="0" kern="1200" baseline="0" dirty="0">
              <a:solidFill>
                <a:schemeClr val="tx1"/>
              </a:solidFill>
              <a:effectLst/>
              <a:latin typeface="+mn-lt"/>
              <a:ea typeface="+mn-ea"/>
              <a:cs typeface="+mn-cs"/>
            </a:endParaRPr>
          </a:p>
          <a:p>
            <a:endParaRPr lang="en-US" sz="1050" dirty="0"/>
          </a:p>
          <a:p>
            <a:r>
              <a:rPr lang="en-US" sz="1050" dirty="0"/>
              <a:t>References</a:t>
            </a:r>
          </a:p>
          <a:p>
            <a:r>
              <a:rPr lang="en-US" sz="1050" dirty="0">
                <a:hlinkClick r:id="rId3"/>
              </a:rPr>
              <a:t>https://docs.microsoft.com/en-us/dotnet/framework/data/adonet/transactions-and-concurrency</a:t>
            </a:r>
            <a:endParaRPr lang="en-US" sz="1050" dirty="0"/>
          </a:p>
          <a:p>
            <a:r>
              <a:rPr lang="en-US" sz="1050" dirty="0">
                <a:hlinkClick r:id="rId4"/>
              </a:rPr>
              <a:t>https://docs.microsoft.com/en-us/dotnet/framework/data/adonet/optimistic-concurrency</a:t>
            </a:r>
            <a:endParaRPr lang="en-US" sz="1050" dirty="0"/>
          </a:p>
          <a:p>
            <a:r>
              <a:rPr lang="en-US" sz="1050" dirty="0">
                <a:hlinkClick r:id="rId5"/>
              </a:rPr>
              <a:t>https://docs.microsoft.com/en-us/sql/connect/jdbc/understanding-concurrency-control?view=sql-server-ver15</a:t>
            </a:r>
            <a:endParaRPr lang="en-US" sz="105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dirty="0"/>
          </a:p>
        </p:txBody>
      </p:sp>
    </p:spTree>
    <p:extLst>
      <p:ext uri="{BB962C8B-B14F-4D97-AF65-F5344CB8AC3E}">
        <p14:creationId xmlns:p14="http://schemas.microsoft.com/office/powerpoint/2010/main" val="1365168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p>
          <a:p>
            <a:pPr marL="381762" lvl="1" indent="-171450">
              <a:buFont typeface="Arial" panose="020B0604020202020204" pitchFamily="34" charset="0"/>
              <a:buChar char="•"/>
            </a:pPr>
            <a:r>
              <a:rPr lang="en-US" sz="882" b="0" i="0" kern="1200" baseline="0" dirty="0">
                <a:solidFill>
                  <a:schemeClr val="tx1"/>
                </a:solidFill>
                <a:effectLst/>
                <a:latin typeface="+mn-lt"/>
                <a:ea typeface="+mn-ea"/>
                <a:cs typeface="+mn-cs"/>
              </a:rPr>
              <a:t>Snapshot isolation avoids most locking and blocking by using row versioning.</a:t>
            </a:r>
          </a:p>
          <a:p>
            <a:pPr marL="381762" lvl="1"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So, as of SQL Server 2019, </a:t>
            </a:r>
            <a:r>
              <a:rPr lang="en-US" sz="900" b="1" i="0" kern="1200" dirty="0">
                <a:solidFill>
                  <a:schemeClr val="tx1"/>
                </a:solidFill>
                <a:effectLst/>
                <a:latin typeface="Segoe UI Light" pitchFamily="34" charset="0"/>
                <a:ea typeface="+mn-ea"/>
                <a:cs typeface="+mn-cs"/>
              </a:rPr>
              <a:t>if ADR is not enabled</a:t>
            </a:r>
            <a:r>
              <a:rPr lang="en-US" sz="900" b="0" i="0" kern="1200" dirty="0">
                <a:solidFill>
                  <a:schemeClr val="tx1"/>
                </a:solidFill>
                <a:effectLst/>
                <a:latin typeface="Segoe UI Light" pitchFamily="34" charset="0"/>
                <a:ea typeface="+mn-ea"/>
                <a:cs typeface="+mn-cs"/>
              </a:rPr>
              <a:t>, row versions are kept in </a:t>
            </a:r>
            <a:r>
              <a:rPr lang="en-US" sz="900" b="1" i="0" kern="1200" dirty="0">
                <a:solidFill>
                  <a:schemeClr val="tx1"/>
                </a:solidFill>
                <a:effectLst/>
                <a:latin typeface="Segoe UI Light" pitchFamily="34" charset="0"/>
                <a:ea typeface="+mn-ea"/>
                <a:cs typeface="+mn-cs"/>
              </a:rPr>
              <a:t>tempdb</a:t>
            </a:r>
            <a:r>
              <a:rPr lang="en-US" sz="900" b="0" i="0" kern="1200" dirty="0">
                <a:solidFill>
                  <a:schemeClr val="tx1"/>
                </a:solidFill>
                <a:effectLst/>
                <a:latin typeface="Segoe UI Light" pitchFamily="34" charset="0"/>
                <a:ea typeface="+mn-ea"/>
                <a:cs typeface="+mn-cs"/>
              </a:rPr>
              <a:t> as always. </a:t>
            </a:r>
          </a:p>
          <a:p>
            <a:pPr marL="38176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f ADR is enabled</a:t>
            </a:r>
            <a:r>
              <a:rPr lang="en-US" sz="9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latin typeface="Segoe UI" panose="020B0502040204020203" pitchFamily="34" charset="0"/>
                <a:cs typeface="Segoe UI" panose="020B0502040204020203" pitchFamily="34" charset="0"/>
              </a:rPr>
              <a:t>Snapshot isolation </a:t>
            </a:r>
            <a:r>
              <a:rPr lang="en-US" sz="900" b="0" u="sng" dirty="0">
                <a:latin typeface="Segoe UI" panose="020B0502040204020203" pitchFamily="34" charset="0"/>
                <a:cs typeface="Segoe UI" panose="020B0502040204020203" pitchFamily="34" charset="0"/>
              </a:rPr>
              <a:t>prevents readers from blocking writers and vice versa</a:t>
            </a:r>
            <a:r>
              <a:rPr lang="en-US" sz="900" b="1" u="sng" dirty="0">
                <a:latin typeface="Segoe UI" panose="020B0502040204020203" pitchFamily="34" charset="0"/>
                <a:cs typeface="Segoe UI" panose="020B0502040204020203" pitchFamily="34" charset="0"/>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r>
              <a:rPr lang="en-US" dirty="0">
                <a:latin typeface="Segoe UI" panose="020B0502040204020203" pitchFamily="34" charset="0"/>
                <a:cs typeface="Segoe UI" panose="020B0502040204020203" pitchFamily="34" charset="0"/>
              </a:rPr>
              <a:t>SNAPSHOT isolation is not an ANSI standard isolation level, it is an isolation level introduced in SQL Server 2005 to provide serializable-like consistency without the same concurrency issues. SNAPSHOT isolation makes use of the row-version store in tempdb to create a copy of a row undergoing modification. In a SNAPSHOT transaction, SQL Server will not acquire Shared locks for reading data, it will read the row-version instead.  Because of the added overhead of maintaining the row-version store for all data modifications, SNAPSHOT isolation is not on by default and must be enabled in the database(s) where it will be used.</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No locks are acquired </a:t>
            </a:r>
            <a:r>
              <a:rPr lang="en-US" sz="800" b="0" i="0" kern="1200" dirty="0">
                <a:solidFill>
                  <a:schemeClr val="tx1"/>
                </a:solidFill>
                <a:effectLst/>
                <a:latin typeface="Segoe UI Light" pitchFamily="34" charset="0"/>
                <a:ea typeface="+mn-ea"/>
                <a:cs typeface="+mn-cs"/>
              </a:rPr>
              <a:t>on the underlying data rows or data pages in a snapshot transaction, which permits other transactions to execute without being blocked by a prior uncompleted transaction.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1" i="0" kern="1200" dirty="0">
                <a:solidFill>
                  <a:schemeClr val="tx1"/>
                </a:solidFill>
                <a:effectLst/>
                <a:latin typeface="Segoe UI Light" pitchFamily="34" charset="0"/>
                <a:ea typeface="+mn-ea"/>
                <a:cs typeface="+mn-cs"/>
              </a:rPr>
              <a:t>Transactions that modify data do not block transactions that read data</a:t>
            </a:r>
            <a:r>
              <a:rPr lang="en-US" sz="800" b="0" i="0" kern="1200" dirty="0">
                <a:solidFill>
                  <a:schemeClr val="tx1"/>
                </a:solidFill>
                <a:effectLst/>
                <a:latin typeface="Segoe UI Light" pitchFamily="34" charset="0"/>
                <a:ea typeface="+mn-ea"/>
                <a:cs typeface="+mn-cs"/>
              </a:rPr>
              <a:t>, and transactions that read data do not block transactions that write data, as they normally would under the default READ COMMITTED isolation level in SQL Server. This non-blocking behavior also significantly </a:t>
            </a:r>
            <a:r>
              <a:rPr lang="en-US" sz="800" b="1" i="0" kern="1200" dirty="0">
                <a:solidFill>
                  <a:schemeClr val="tx1"/>
                </a:solidFill>
                <a:effectLst/>
                <a:latin typeface="Segoe UI Light" pitchFamily="34" charset="0"/>
                <a:ea typeface="+mn-ea"/>
                <a:cs typeface="+mn-cs"/>
              </a:rPr>
              <a:t>reduces the likelihood of deadlocks </a:t>
            </a:r>
            <a:r>
              <a:rPr lang="en-US" sz="800" b="0" i="0" kern="1200" dirty="0">
                <a:solidFill>
                  <a:schemeClr val="tx1"/>
                </a:solidFill>
                <a:effectLst/>
                <a:latin typeface="Segoe UI Light" pitchFamily="34" charset="0"/>
                <a:ea typeface="+mn-ea"/>
                <a:cs typeface="+mn-cs"/>
              </a:rPr>
              <a:t>for complex transactions.</a:t>
            </a:r>
          </a:p>
          <a:p>
            <a:endParaRPr lang="en-US" sz="800" b="1" u="sng"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ow-versioning is not on by default, you can enable row versioning by using the ALTER DATABASE command</a:t>
            </a:r>
            <a:r>
              <a:rPr lang="en-US" sz="800"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dirty="0">
                <a:latin typeface="Segoe UI" panose="020B0502040204020203" pitchFamily="34" charset="0"/>
                <a:cs typeface="Segoe UI" panose="020B0502040204020203" pitchFamily="34" charset="0"/>
              </a:rPr>
              <a:t>READ COMMITTED SNAPSHOT guarantees statement-level read consistency it replaces read-committed. </a:t>
            </a:r>
          </a:p>
          <a:p>
            <a:r>
              <a:rPr lang="en-US" sz="800" dirty="0">
                <a:latin typeface="Segoe UI" panose="020B0502040204020203" pitchFamily="34" charset="0"/>
                <a:cs typeface="Segoe UI" panose="020B0502040204020203" pitchFamily="34" charset="0"/>
              </a:rPr>
              <a:t>SNAPSHOT ISOLATION LEVEL guarantees transaction-level read consistency. </a:t>
            </a:r>
          </a:p>
          <a:p>
            <a:r>
              <a:rPr lang="en-US" sz="800" i="1" u="sng" dirty="0">
                <a:latin typeface="Segoe UI" panose="020B0502040204020203" pitchFamily="34" charset="0"/>
                <a:cs typeface="Segoe UI" panose="020B0502040204020203" pitchFamily="34" charset="0"/>
              </a:rPr>
              <a:t>This means that all read operations in a snapshot transaction view row versions that were committed at the time that the transaction started</a:t>
            </a:r>
            <a:r>
              <a:rPr lang="en-US" sz="800" b="1" i="1" u="sng" dirty="0">
                <a:latin typeface="Segoe UI" panose="020B0502040204020203" pitchFamily="34" charset="0"/>
                <a:cs typeface="Segoe UI" panose="020B0502040204020203" pitchFamily="34" charset="0"/>
              </a:rPr>
              <a:t>.</a:t>
            </a:r>
          </a:p>
          <a:p>
            <a:endParaRPr lang="en-US" dirty="0">
              <a:latin typeface="Segoe UI" panose="020B0502040204020203" pitchFamily="34" charset="0"/>
              <a:cs typeface="Segoe UI" panose="020B0502040204020203" pitchFamily="34" charset="0"/>
            </a:endParaRPr>
          </a:p>
          <a:p>
            <a:r>
              <a:rPr lang="en-US" sz="800" b="1" i="0" kern="1200" dirty="0">
                <a:solidFill>
                  <a:schemeClr val="tx1"/>
                </a:solidFill>
                <a:effectLst/>
                <a:latin typeface="Segoe UI Light" pitchFamily="34" charset="0"/>
                <a:ea typeface="+mn-ea"/>
                <a:cs typeface="+mn-cs"/>
              </a:rPr>
              <a:t>Prior to SQL Server 2019</a:t>
            </a:r>
            <a:r>
              <a:rPr lang="en-US" sz="800" b="0" i="0" kern="1200" dirty="0">
                <a:solidFill>
                  <a:schemeClr val="tx1"/>
                </a:solidFill>
                <a:effectLst/>
                <a:latin typeface="Segoe UI Light" pitchFamily="34" charset="0"/>
                <a:ea typeface="+mn-ea"/>
                <a:cs typeface="+mn-cs"/>
              </a:rPr>
              <a:t>, these versions were stored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SQL Server 2019 introduces a new feature, </a:t>
            </a:r>
            <a:r>
              <a:rPr lang="en-US" sz="800" b="1" i="0" kern="1200" dirty="0">
                <a:solidFill>
                  <a:schemeClr val="tx1"/>
                </a:solidFill>
                <a:effectLst/>
                <a:latin typeface="Segoe UI Light" pitchFamily="34" charset="0"/>
                <a:ea typeface="+mn-ea"/>
                <a:cs typeface="+mn-cs"/>
              </a:rPr>
              <a:t>Accelerated Database Recovery (ADR</a:t>
            </a:r>
            <a:r>
              <a:rPr lang="en-US" sz="800" b="0" i="0" kern="1200" dirty="0">
                <a:solidFill>
                  <a:schemeClr val="tx1"/>
                </a:solidFill>
                <a:effectLst/>
                <a:latin typeface="Segoe UI Light" pitchFamily="34" charset="0"/>
                <a:ea typeface="+mn-ea"/>
                <a:cs typeface="+mn-cs"/>
              </a:rPr>
              <a:t>) which requires its own set of row versions. </a:t>
            </a:r>
          </a:p>
          <a:p>
            <a:r>
              <a:rPr lang="en-US" sz="800" b="0" i="0" kern="1200" dirty="0">
                <a:solidFill>
                  <a:schemeClr val="tx1"/>
                </a:solidFill>
                <a:effectLst/>
                <a:latin typeface="Segoe UI Light" pitchFamily="34" charset="0"/>
                <a:ea typeface="+mn-ea"/>
                <a:cs typeface="+mn-cs"/>
              </a:rPr>
              <a:t>So, as of SQL Server 2019, </a:t>
            </a:r>
            <a:r>
              <a:rPr lang="en-US" sz="800" b="1" i="0" kern="1200" dirty="0">
                <a:solidFill>
                  <a:schemeClr val="tx1"/>
                </a:solidFill>
                <a:effectLst/>
                <a:latin typeface="Segoe UI Light" pitchFamily="34" charset="0"/>
                <a:ea typeface="+mn-ea"/>
                <a:cs typeface="+mn-cs"/>
              </a:rPr>
              <a:t>if ADR is not enabled</a:t>
            </a:r>
            <a:r>
              <a:rPr lang="en-US" sz="800" b="0" i="0" kern="1200" dirty="0">
                <a:solidFill>
                  <a:schemeClr val="tx1"/>
                </a:solidFill>
                <a:effectLst/>
                <a:latin typeface="Segoe UI Light" pitchFamily="34" charset="0"/>
                <a:ea typeface="+mn-ea"/>
                <a:cs typeface="+mn-cs"/>
              </a:rPr>
              <a:t>, row versions are kept in </a:t>
            </a:r>
            <a:r>
              <a:rPr lang="en-US" sz="800" b="1" i="0" kern="1200" dirty="0">
                <a:solidFill>
                  <a:schemeClr val="tx1"/>
                </a:solidFill>
                <a:effectLst/>
                <a:latin typeface="Segoe UI Light" pitchFamily="34" charset="0"/>
                <a:ea typeface="+mn-ea"/>
                <a:cs typeface="+mn-cs"/>
              </a:rPr>
              <a:t>tempdb</a:t>
            </a:r>
            <a:r>
              <a:rPr lang="en-US" sz="800" b="0" i="0" kern="1200" dirty="0">
                <a:solidFill>
                  <a:schemeClr val="tx1"/>
                </a:solidFill>
                <a:effectLst/>
                <a:latin typeface="Segoe UI Light" pitchFamily="34" charset="0"/>
                <a:ea typeface="+mn-ea"/>
                <a:cs typeface="+mn-cs"/>
              </a:rPr>
              <a:t> as always. </a:t>
            </a:r>
          </a:p>
          <a:p>
            <a:r>
              <a:rPr lang="en-US" sz="800" b="1" i="0" kern="1200" dirty="0">
                <a:solidFill>
                  <a:schemeClr val="tx1"/>
                </a:solidFill>
                <a:effectLst/>
                <a:latin typeface="Segoe UI Light" pitchFamily="34" charset="0"/>
                <a:ea typeface="+mn-ea"/>
                <a:cs typeface="+mn-cs"/>
              </a:rPr>
              <a:t>If ADR is enabled</a:t>
            </a:r>
            <a:r>
              <a:rPr lang="en-US" sz="800" b="0" i="0" kern="1200" dirty="0">
                <a:solidFill>
                  <a:schemeClr val="tx1"/>
                </a:solidFill>
                <a:effectLst/>
                <a:latin typeface="Segoe UI Light" pitchFamily="34" charset="0"/>
                <a:ea typeface="+mn-ea"/>
                <a:cs typeface="+mn-cs"/>
              </a:rPr>
              <a:t>, then all row versions, both related to snapshot isolation and ADR, are kept in ADR's Persistent Version Store (PVS), which is located in the user database in a filegroup which the user specifies. </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References:</a:t>
            </a: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Understanding Row Versioning-Based Isolation Levels, refer: </a:t>
            </a:r>
            <a:br>
              <a:rPr lang="en-US" i="1" dirty="0">
                <a:latin typeface="Segoe UI" panose="020B0502040204020203" pitchFamily="34" charset="0"/>
                <a:cs typeface="Segoe UI" panose="020B0502040204020203" pitchFamily="34" charset="0"/>
              </a:rPr>
            </a:br>
            <a:r>
              <a:rPr lang="en-US" dirty="0">
                <a:hlinkClick r:id="rId3"/>
              </a:rPr>
              <a:t>https://docs.microsoft.com/en-us/previous-versions/sql/sql-server-2008-r2/ms189050(v=sql.10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32388142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1195379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900" dirty="0">
                <a:solidFill>
                  <a:srgbClr val="000000"/>
                </a:solidFill>
                <a:latin typeface="Consolas" panose="020B0609020204030204" pitchFamily="49" charset="0"/>
              </a:rPr>
              <a:t>M04L02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E:\Demos\</a:t>
            </a:r>
            <a:r>
              <a:rPr lang="en-US" sz="800" dirty="0">
                <a:solidFill>
                  <a:srgbClr val="000000"/>
                </a:solidFill>
                <a:latin typeface="Consolas" panose="020B0609020204030204" pitchFamily="49" charset="0"/>
              </a:rPr>
              <a:t>M04L02Demo01</a:t>
            </a:r>
            <a:r>
              <a:rPr lang="en-US" sz="882" noProof="1">
                <a:solidFill>
                  <a:prstClr val="black"/>
                </a:solidFill>
                <a:latin typeface="Segoe UI Light" pitchFamily="34" charset="0"/>
              </a:rPr>
              <a:t>\Key_Range_Locking.sql</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M04L02Lab01</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Link to lab: Use electronic material to complete the lab exercise a</a:t>
            </a:r>
            <a:r>
              <a:rPr lang="en-US" sz="882" kern="1200" baseline="0" dirty="0">
                <a:solidFill>
                  <a:schemeClr val="tx1"/>
                </a:solidFill>
                <a:effectLst/>
                <a:latin typeface="+mn-lt"/>
                <a:ea typeface="+mn-ea"/>
                <a:cs typeface="+mn-cs"/>
              </a:rPr>
              <a:t>pplying a Read-Committed snapsho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Read committed</a:t>
            </a:r>
          </a:p>
          <a:p>
            <a:pPr marL="228600" indent="-228600">
              <a:buFont typeface="+mj-lt"/>
              <a:buAutoNum type="arabicPeriod"/>
            </a:pPr>
            <a:r>
              <a:rPr lang="en-US" sz="1600" dirty="0"/>
              <a:t>Snapshot isolation and read-committed snapshot</a:t>
            </a:r>
          </a:p>
          <a:p>
            <a:pPr marL="228600" indent="-228600">
              <a:buFont typeface="+mj-lt"/>
              <a:buAutoNum type="arabicPeriod"/>
            </a:pPr>
            <a:r>
              <a:rPr lang="en-US" sz="1600" dirty="0"/>
              <a:t>The </a:t>
            </a:r>
            <a:r>
              <a:rPr lang="en-US" sz="1600" dirty="0" err="1"/>
              <a:t>sys.dm_tran_version_store</a:t>
            </a:r>
            <a:r>
              <a:rPr lang="en-US" sz="1600" dirty="0"/>
              <a:t> DMV displays all version records in the version store. </a:t>
            </a:r>
            <a:r>
              <a:rPr lang="en-US" sz="1600" b="1" dirty="0"/>
              <a:t>Querying this DMV might be inefficient to run because it queries the entire version store</a:t>
            </a:r>
            <a:r>
              <a:rPr lang="en-US" sz="1600" dirty="0"/>
              <a:t>, which can be very large if there are a large number of transactions and connections</a:t>
            </a:r>
          </a:p>
          <a:p>
            <a:endParaRPr lang="en-US" sz="1600" dirty="0"/>
          </a:p>
          <a:p>
            <a:endParaRPr lang="en-US" sz="1600"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4/7/2023</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SQL Server locks resources in order to help protect them from concurrent users. Locks can be acquired on many different resources such as: </a:t>
            </a:r>
          </a:p>
          <a:p>
            <a:pPr lvl="1"/>
            <a:r>
              <a:rPr lang="en-US" sz="1050" dirty="0">
                <a:latin typeface="Segoe UI" panose="020B0502040204020203" pitchFamily="34" charset="0"/>
                <a:cs typeface="Segoe UI" panose="020B0502040204020203" pitchFamily="34" charset="0"/>
              </a:rPr>
              <a:t>A database </a:t>
            </a:r>
          </a:p>
          <a:p>
            <a:pPr lvl="1"/>
            <a:r>
              <a:rPr lang="en-US" sz="1050" dirty="0">
                <a:latin typeface="Segoe UI" panose="020B0502040204020203" pitchFamily="34" charset="0"/>
                <a:cs typeface="Segoe UI" panose="020B0502040204020203" pitchFamily="34" charset="0"/>
              </a:rPr>
              <a:t>A database file </a:t>
            </a:r>
          </a:p>
          <a:p>
            <a:pPr lvl="1"/>
            <a:r>
              <a:rPr lang="en-US" sz="1050" dirty="0">
                <a:latin typeface="Segoe UI" panose="020B0502040204020203" pitchFamily="34" charset="0"/>
                <a:cs typeface="Segoe UI" panose="020B0502040204020203" pitchFamily="34" charset="0"/>
              </a:rPr>
              <a:t>An entire table, including all data and indexes </a:t>
            </a:r>
          </a:p>
          <a:p>
            <a:pPr lvl="1"/>
            <a:r>
              <a:rPr lang="en-US" sz="1050" dirty="0">
                <a:latin typeface="Segoe UI" panose="020B0502040204020203" pitchFamily="34" charset="0"/>
                <a:cs typeface="Segoe UI" panose="020B0502040204020203" pitchFamily="34" charset="0"/>
              </a:rPr>
              <a:t>An 8 kilobyte (KB) data page or index page </a:t>
            </a:r>
          </a:p>
          <a:p>
            <a:pPr lvl="1"/>
            <a:r>
              <a:rPr lang="en-US" sz="1050" dirty="0">
                <a:latin typeface="Segoe UI" panose="020B0502040204020203" pitchFamily="34" charset="0"/>
                <a:cs typeface="Segoe UI" panose="020B0502040204020203" pitchFamily="34" charset="0"/>
              </a:rPr>
              <a:t>A row within an index </a:t>
            </a:r>
          </a:p>
          <a:p>
            <a:pPr lvl="1"/>
            <a:r>
              <a:rPr lang="en-US" sz="1050" dirty="0">
                <a:latin typeface="Segoe UI" panose="020B0502040204020203" pitchFamily="34" charset="0"/>
                <a:cs typeface="Segoe UI" panose="020B0502040204020203" pitchFamily="34" charset="0"/>
              </a:rPr>
              <a:t>Metadata information </a:t>
            </a:r>
          </a:p>
          <a:p>
            <a:pPr lvl="1"/>
            <a:r>
              <a:rPr lang="en-US" sz="1050" dirty="0">
                <a:latin typeface="Segoe UI" panose="020B0502040204020203" pitchFamily="34" charset="0"/>
                <a:cs typeface="Segoe UI" panose="020B0502040204020203" pitchFamily="34" charset="0"/>
              </a:rPr>
              <a:t>Internal storage structures, such as heap or B-tree (HoBT) structures</a:t>
            </a:r>
          </a:p>
          <a:p>
            <a:pPr lvl="1"/>
            <a:r>
              <a:rPr lang="en-US" sz="1050" dirty="0">
                <a:latin typeface="Segoe UI" panose="020B0502040204020203" pitchFamily="34" charset="0"/>
                <a:cs typeface="Segoe UI" panose="020B0502040204020203" pitchFamily="34" charset="0"/>
              </a:rPr>
              <a:t>Allocation units </a:t>
            </a:r>
          </a:p>
          <a:p>
            <a:pPr lvl="1"/>
            <a:r>
              <a:rPr lang="en-US" sz="1050" dirty="0">
                <a:latin typeface="Segoe UI" panose="020B0502040204020203" pitchFamily="34" charset="0"/>
                <a:cs typeface="Segoe UI" panose="020B0502040204020203" pitchFamily="34" charset="0"/>
              </a:rPr>
              <a:t>A lock resource defined by an application </a:t>
            </a:r>
          </a:p>
          <a:p>
            <a:r>
              <a:rPr lang="en-US" sz="1050" dirty="0">
                <a:latin typeface="Segoe UI" panose="020B0502040204020203" pitchFamily="34" charset="0"/>
                <a:cs typeface="Segoe UI" panose="020B0502040204020203" pitchFamily="34" charset="0"/>
              </a:rPr>
              <a:t>Multi-granular locking </a:t>
            </a:r>
          </a:p>
          <a:p>
            <a:pPr lvl="1"/>
            <a:r>
              <a:rPr lang="en-US" sz="1050" dirty="0">
                <a:latin typeface="Segoe UI" panose="020B0502040204020203" pitchFamily="34" charset="0"/>
                <a:cs typeface="Segoe UI" panose="020B0502040204020203" pitchFamily="34" charset="0"/>
              </a:rPr>
              <a:t>To minimize the cost of locking, SQL Server locks resources automatically at a level appropriate to the task. SQL Server has multi-granular locking that allows different types of resources to be locked by a transaction</a:t>
            </a:r>
          </a:p>
          <a:p>
            <a:pPr lvl="1"/>
            <a:r>
              <a:rPr lang="en-US" sz="1050" dirty="0">
                <a:latin typeface="Segoe UI" panose="020B0502040204020203" pitchFamily="34" charset="0"/>
                <a:cs typeface="Segoe UI" panose="020B0502040204020203" pitchFamily="34" charset="0"/>
              </a:rPr>
              <a:t>Locking at a larger granularity, such as tables is expensive in terms of concurrency because locking an entire table restricts access to any part of the table by other transactions but has a lower overhead because fewer locks are being maintained. </a:t>
            </a:r>
          </a:p>
          <a:p>
            <a:pPr lvl="1"/>
            <a:r>
              <a:rPr lang="en-US" sz="1050" dirty="0">
                <a:latin typeface="Segoe UI" panose="020B0502040204020203" pitchFamily="34" charset="0"/>
                <a:cs typeface="Segoe UI" panose="020B0502040204020203" pitchFamily="34" charset="0"/>
              </a:rPr>
              <a:t>Locking at a smaller granularity, such as rows, increases concurrency, but has a higher overhead because more locks must be held if many rows are locked</a:t>
            </a:r>
          </a:p>
          <a:p>
            <a:pPr lvl="1"/>
            <a:r>
              <a:rPr lang="en-US" sz="1050" dirty="0">
                <a:latin typeface="Segoe UI" panose="020B0502040204020203" pitchFamily="34" charset="0"/>
                <a:cs typeface="Segoe UI" panose="020B0502040204020203" pitchFamily="34" charset="0"/>
              </a:rPr>
              <a:t>The Database Engine often needs to acquire locks at multiple levels of granularity to fully help protect a resource. This group of locks at multiple levels of granularity is called a </a:t>
            </a:r>
            <a:r>
              <a:rPr lang="en-US" sz="1050" b="1" dirty="0">
                <a:latin typeface="Segoe UI" panose="020B0502040204020203" pitchFamily="34" charset="0"/>
                <a:cs typeface="Segoe UI" panose="020B0502040204020203" pitchFamily="34" charset="0"/>
              </a:rPr>
              <a:t>lock hierarchy</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Tree>
    <p:extLst>
      <p:ext uri="{BB962C8B-B14F-4D97-AF65-F5344CB8AC3E}">
        <p14:creationId xmlns:p14="http://schemas.microsoft.com/office/powerpoint/2010/main" val="3924800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ownership </a:t>
            </a:r>
          </a:p>
          <a:p>
            <a:pPr lvl="1"/>
            <a:r>
              <a:rPr lang="en-US" sz="1050" dirty="0">
                <a:latin typeface="Segoe UI" panose="020B0502040204020203" pitchFamily="34" charset="0"/>
                <a:cs typeface="Segoe UI" panose="020B0502040204020203" pitchFamily="34" charset="0"/>
              </a:rPr>
              <a:t>Most of the locking discussion in this topic relates to the locks owned by transactions. In addition to transactions, cursors and sessions can be owners of locks and they both affect the duration for which locks are held. </a:t>
            </a:r>
          </a:p>
          <a:p>
            <a:pPr lvl="1"/>
            <a:r>
              <a:rPr lang="en-US" sz="1050" dirty="0">
                <a:latin typeface="Segoe UI" panose="020B0502040204020203" pitchFamily="34" charset="0"/>
                <a:cs typeface="Segoe UI" panose="020B0502040204020203" pitchFamily="34" charset="0"/>
              </a:rPr>
              <a:t>When you use the SCROLL_LOCKS option, a cursor lock is held for every row that is fetched until the next row is fetched or the cursor is closed, regardless of the state of a transaction. </a:t>
            </a:r>
          </a:p>
          <a:p>
            <a:pPr lvl="1"/>
            <a:r>
              <a:rPr lang="en-US" sz="1050" dirty="0">
                <a:latin typeface="Segoe UI" panose="020B0502040204020203" pitchFamily="34" charset="0"/>
                <a:cs typeface="Segoe UI" panose="020B0502040204020203" pitchFamily="34" charset="0"/>
              </a:rPr>
              <a:t>Locks owned by session are outside the scope of a transaction. The duration of these locks is bounded by the connection and the process will continue to hold these locks until the process disconnects. A typical lock owned by session is the database (DB) lock. Shared DB lock is not held when the database is in Single user mode. </a:t>
            </a:r>
          </a:p>
          <a:p>
            <a:endParaRPr lang="en-US" dirty="0"/>
          </a:p>
        </p:txBody>
      </p:sp>
    </p:spTree>
    <p:extLst>
      <p:ext uri="{BB962C8B-B14F-4D97-AF65-F5344CB8AC3E}">
        <p14:creationId xmlns:p14="http://schemas.microsoft.com/office/powerpoint/2010/main" val="783278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18529642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The SQL Server Database Engine locks resources by using different lock modes that determine how the resources can be accessed by concurrent transactions. Some locks allow concurrent access to the resource, while others do not. For example, a Shared lock is used to help protect a resource that is being used for read-only access. Since the resource is only going to be read, several concurrent users can have Shared locks on the same resource. If a transaction wants to modify the data, it must first acquire an Exclusive lock. This prevents anyone from reading or writing to the resource, while the transaction is in progress. When an Exclusive lock is in place, no other locks can be granted on the resource.</a:t>
            </a:r>
          </a:p>
          <a:p>
            <a:pPr marL="0" indent="0">
              <a:buNone/>
            </a:pPr>
            <a:r>
              <a:rPr lang="en-US" sz="900" dirty="0">
                <a:latin typeface="Segoe UI" panose="020B0502040204020203" pitchFamily="34" charset="0"/>
                <a:cs typeface="Segoe UI" panose="020B0502040204020203" pitchFamily="34" charset="0"/>
              </a:rPr>
              <a:t>Lock modes :</a:t>
            </a:r>
          </a:p>
          <a:p>
            <a:pPr lvl="0"/>
            <a:r>
              <a:rPr lang="en-US" sz="900" dirty="0">
                <a:latin typeface="Segoe UI" panose="020B0502040204020203" pitchFamily="34" charset="0"/>
                <a:cs typeface="Segoe UI" panose="020B0502040204020203" pitchFamily="34" charset="0"/>
              </a:rPr>
              <a:t>Schema modification (Sch-M) locks are taken during a table data definition language (DDL) operation. A Sch-M lock prevents concurrent access to the table. This lock blocks all outside operations until the lock is released. You must use Sch- M locks to prevent access to affected tables by concurrent operations</a:t>
            </a:r>
          </a:p>
          <a:p>
            <a:pPr lvl="0"/>
            <a:r>
              <a:rPr lang="en-US" sz="900" dirty="0">
                <a:latin typeface="Segoe UI" panose="020B0502040204020203" pitchFamily="34" charset="0"/>
                <a:cs typeface="Segoe UI" panose="020B0502040204020203" pitchFamily="34" charset="0"/>
              </a:rPr>
              <a:t>Schema stability (Sch-S) locks are taken when compiling and running queries. Sch-S locks do not block any transactional locks, including exclusive (X) locks. Transactions continue to run while a query is being compiled</a:t>
            </a:r>
          </a:p>
          <a:p>
            <a:pPr lvl="0"/>
            <a:r>
              <a:rPr lang="en-US" sz="900" dirty="0">
                <a:latin typeface="Segoe UI" panose="020B0502040204020203" pitchFamily="34" charset="0"/>
                <a:cs typeface="Segoe UI" panose="020B0502040204020203" pitchFamily="34" charset="0"/>
              </a:rPr>
              <a:t>Shared (S) locks allow concurrent transactions to read (SELECT) a resource under pessimistic concurrency control. However, no other transactions can modify the data while shared (S) locks exist on the resource</a:t>
            </a:r>
          </a:p>
          <a:p>
            <a:pPr lvl="0"/>
            <a:r>
              <a:rPr lang="en-US" sz="900" dirty="0">
                <a:latin typeface="Segoe UI" panose="020B0502040204020203" pitchFamily="34" charset="0"/>
                <a:cs typeface="Segoe UI" panose="020B0502040204020203" pitchFamily="34" charset="0"/>
              </a:rPr>
              <a:t>Update (U) locks prevent a common form of deadlock. Only one transaction can obtain an update (U) lock to a resource at a time. If a transaction modifies a resource, the update (U) lock is converted to an exclusive (X) lock</a:t>
            </a:r>
          </a:p>
          <a:p>
            <a:pPr lvl="0"/>
            <a:r>
              <a:rPr lang="en-US" sz="900" dirty="0">
                <a:latin typeface="Segoe UI" panose="020B0502040204020203" pitchFamily="34" charset="0"/>
                <a:cs typeface="Segoe UI" panose="020B0502040204020203" pitchFamily="34" charset="0"/>
              </a:rPr>
              <a:t>Exclusive (X) locks prevent access to a resource by concurrent transactions. With an exclusive (X) lock, by default, no other transactions can modify data</a:t>
            </a:r>
          </a:p>
          <a:p>
            <a:pPr lvl="0"/>
            <a:r>
              <a:rPr lang="en-US" sz="900" dirty="0">
                <a:latin typeface="Segoe UI" panose="020B0502040204020203" pitchFamily="34" charset="0"/>
                <a:cs typeface="Segoe UI" panose="020B0502040204020203" pitchFamily="34" charset="0"/>
              </a:rPr>
              <a:t>Intent shared (IS) lock helps protect requested or acquired shared locks on some resources lower in the hierarchy </a:t>
            </a:r>
          </a:p>
          <a:p>
            <a:pPr lvl="0"/>
            <a:r>
              <a:rPr lang="en-US" sz="900" dirty="0">
                <a:latin typeface="Segoe UI" panose="020B0502040204020203" pitchFamily="34" charset="0"/>
                <a:cs typeface="Segoe UI" panose="020B0502040204020203" pitchFamily="34" charset="0"/>
              </a:rPr>
              <a:t>Intent exclusive (IX) lock helps protect requested or acquired exclusive locks on some resources lower in the hierarchy. IX is a superset of IS, and it also helps protect requesting shared locks on lower-level resources</a:t>
            </a:r>
          </a:p>
          <a:p>
            <a:endParaRPr lang="en-US" dirty="0"/>
          </a:p>
        </p:txBody>
      </p:sp>
    </p:spTree>
    <p:extLst>
      <p:ext uri="{BB962C8B-B14F-4D97-AF65-F5344CB8AC3E}">
        <p14:creationId xmlns:p14="http://schemas.microsoft.com/office/powerpoint/2010/main" val="3936253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 In a multi-granular locking environment, there must be a way to effectively overcome this problem. The solution is </a:t>
            </a:r>
            <a:r>
              <a:rPr lang="en-US" sz="1050" b="1" dirty="0">
                <a:latin typeface="Segoe UI" panose="020B0502040204020203" pitchFamily="34" charset="0"/>
                <a:cs typeface="Segoe UI" panose="020B0502040204020203" pitchFamily="34" charset="0"/>
              </a:rPr>
              <a:t>intent lo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An Intent lock is used to establish a lock hierarchy. SQL Server Database Engine acquires low-level locks and also places intent locks on the objects that contain the lower-level objects as follows: </a:t>
            </a:r>
          </a:p>
          <a:p>
            <a:pPr lvl="1"/>
            <a:r>
              <a:rPr lang="en-US" sz="1050" dirty="0">
                <a:latin typeface="Segoe UI" panose="020B0502040204020203" pitchFamily="34" charset="0"/>
                <a:cs typeface="Segoe UI" panose="020B0502040204020203" pitchFamily="34" charset="0"/>
              </a:rPr>
              <a:t>When locking rows or index key ranges, intent lock is acquired on the pages that contain the rows or keys</a:t>
            </a:r>
          </a:p>
          <a:p>
            <a:pPr lvl="1"/>
            <a:r>
              <a:rPr lang="en-US" sz="1050" dirty="0">
                <a:latin typeface="Segoe UI" panose="020B0502040204020203" pitchFamily="34" charset="0"/>
                <a:cs typeface="Segoe UI" panose="020B0502040204020203" pitchFamily="34" charset="0"/>
              </a:rPr>
              <a:t>When locking pages, intent lock is acquired on the higher-level objects that contain the pages. In addition to the intent lock on the object, intent page locks are requested on the following objects: </a:t>
            </a:r>
          </a:p>
          <a:p>
            <a:pPr lvl="2"/>
            <a:r>
              <a:rPr lang="en-US" sz="1050" dirty="0">
                <a:latin typeface="Segoe UI" panose="020B0502040204020203" pitchFamily="34" charset="0"/>
                <a:cs typeface="Segoe UI" panose="020B0502040204020203" pitchFamily="34" charset="0"/>
              </a:rPr>
              <a:t>Leaf-level pages of non-clustered indexes</a:t>
            </a:r>
          </a:p>
          <a:p>
            <a:pPr lvl="2"/>
            <a:r>
              <a:rPr lang="en-US" sz="1050" dirty="0">
                <a:latin typeface="Segoe UI" panose="020B0502040204020203" pitchFamily="34" charset="0"/>
                <a:cs typeface="Segoe UI" panose="020B0502040204020203" pitchFamily="34" charset="0"/>
              </a:rPr>
              <a:t>Data pages of clustered indexes </a:t>
            </a:r>
          </a:p>
          <a:p>
            <a:pPr lvl="2"/>
            <a:r>
              <a:rPr lang="en-US" sz="1050" dirty="0">
                <a:latin typeface="Segoe UI" panose="020B0502040204020203" pitchFamily="34" charset="0"/>
                <a:cs typeface="Segoe UI" panose="020B0502040204020203" pitchFamily="34" charset="0"/>
              </a:rPr>
              <a:t>Heap data pages </a:t>
            </a:r>
          </a:p>
          <a:p>
            <a:r>
              <a:rPr lang="en-US" sz="1050" dirty="0">
                <a:latin typeface="Segoe UI" panose="020B0502040204020203" pitchFamily="34" charset="0"/>
                <a:cs typeface="Segoe UI" panose="020B0502040204020203" pitchFamily="34" charset="0"/>
              </a:rPr>
              <a:t>An intent lock indicates that SQL Server wants to acquire a shared (S) lock or an exclusive (X) lock on some of the resources lower down in the hierarchy. For example,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 Intent locks improve performance 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endParaRPr lang="en-US" dirty="0"/>
          </a:p>
        </p:txBody>
      </p:sp>
    </p:spTree>
    <p:extLst>
      <p:ext uri="{BB962C8B-B14F-4D97-AF65-F5344CB8AC3E}">
        <p14:creationId xmlns:p14="http://schemas.microsoft.com/office/powerpoint/2010/main" val="2550359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Segoe UI" panose="020B0502040204020203" pitchFamily="34" charset="0"/>
                <a:cs typeface="Segoe UI" panose="020B0502040204020203" pitchFamily="34" charset="0"/>
              </a:rPr>
              <a:t>The example provided in the slide shows, if one transaction (T1) holds an exclusive lock at the table level, and another transaction (T2) holds an exclusive lock at the row level, each of the transactions believe that they have exclusive access to the resource. In this scenario, because T1 believes that it locks the entire table, it might inadvertently make changes to the same row that T2 thought it has locked exclusively.</a:t>
            </a:r>
          </a:p>
          <a:p>
            <a:r>
              <a:rPr lang="en-US" sz="1100" dirty="0">
                <a:latin typeface="Segoe UI" panose="020B0502040204020203" pitchFamily="34" charset="0"/>
                <a:cs typeface="Segoe UI" panose="020B0502040204020203" pitchFamily="34" charset="0"/>
              </a:rPr>
              <a:t>In a multi-granular locking environment, there must be a way to effectively overcome this problem. The solution is </a:t>
            </a:r>
            <a:r>
              <a:rPr lang="en-US" sz="1100" b="1" dirty="0">
                <a:latin typeface="Segoe UI" panose="020B0502040204020203" pitchFamily="34" charset="0"/>
                <a:cs typeface="Segoe UI" panose="020B0502040204020203" pitchFamily="34" charset="0"/>
              </a:rPr>
              <a:t>intent lock</a:t>
            </a:r>
            <a:r>
              <a:rPr lang="en-US" sz="1100" dirty="0">
                <a:latin typeface="Segoe UI" panose="020B0502040204020203" pitchFamily="34" charset="0"/>
                <a:cs typeface="Segoe UI" panose="020B0502040204020203" pitchFamily="34" charset="0"/>
              </a:rPr>
              <a:t>. </a:t>
            </a:r>
          </a:p>
          <a:p>
            <a:endParaRPr lang="en-US" sz="1100" dirty="0">
              <a:latin typeface="Segoe UI" panose="020B0502040204020203" pitchFamily="34" charset="0"/>
              <a:cs typeface="Segoe UI" panose="020B0502040204020203" pitchFamily="34" charset="0"/>
            </a:endParaRPr>
          </a:p>
          <a:p>
            <a:r>
              <a:rPr lang="en-US" sz="900" b="1" i="0" kern="1200" dirty="0">
                <a:solidFill>
                  <a:schemeClr val="tx1"/>
                </a:solidFill>
                <a:effectLst/>
                <a:latin typeface="Segoe UI Light" pitchFamily="34" charset="0"/>
                <a:ea typeface="+mn-ea"/>
                <a:cs typeface="+mn-cs"/>
              </a:rPr>
              <a:t>Intent Locks</a:t>
            </a:r>
          </a:p>
          <a:p>
            <a:r>
              <a:rPr lang="en-US" sz="900" b="0" i="0" kern="1200" dirty="0">
                <a:solidFill>
                  <a:schemeClr val="tx1"/>
                </a:solidFill>
                <a:effectLst/>
                <a:latin typeface="Segoe UI Light" pitchFamily="34" charset="0"/>
                <a:ea typeface="+mn-ea"/>
                <a:cs typeface="+mn-cs"/>
              </a:rPr>
              <a:t>The SQL Server Database Engine </a:t>
            </a:r>
            <a:r>
              <a:rPr lang="en-US" sz="900" b="0" i="0" u="sng" kern="1200" dirty="0">
                <a:solidFill>
                  <a:schemeClr val="tx1"/>
                </a:solidFill>
                <a:effectLst/>
                <a:latin typeface="Segoe UI Light" pitchFamily="34" charset="0"/>
                <a:ea typeface="+mn-ea"/>
                <a:cs typeface="+mn-cs"/>
              </a:rPr>
              <a:t>uses intent locks to protect placing a shared (S) lock or exclusive (X) lock on a resource lower in the lock hierarchy</a:t>
            </a:r>
            <a:r>
              <a:rPr lang="en-US" sz="900" b="0" i="0" kern="1200" dirty="0">
                <a:solidFill>
                  <a:schemeClr val="tx1"/>
                </a:solidFill>
                <a:effectLst/>
                <a:latin typeface="Segoe UI Light" pitchFamily="34" charset="0"/>
                <a:ea typeface="+mn-ea"/>
                <a:cs typeface="+mn-cs"/>
              </a:rPr>
              <a:t>. Intent locks are named </a:t>
            </a:r>
            <a:r>
              <a:rPr lang="en-US" sz="900" b="1" i="0" kern="1200" dirty="0">
                <a:solidFill>
                  <a:schemeClr val="tx1"/>
                </a:solidFill>
                <a:effectLst/>
                <a:latin typeface="Segoe UI Light" pitchFamily="34" charset="0"/>
                <a:ea typeface="+mn-ea"/>
                <a:cs typeface="+mn-cs"/>
              </a:rPr>
              <a:t>intent locks </a:t>
            </a:r>
            <a:r>
              <a:rPr lang="en-US" sz="900" b="0" i="0" kern="1200" dirty="0">
                <a:solidFill>
                  <a:schemeClr val="tx1"/>
                </a:solidFill>
                <a:effectLst/>
                <a:latin typeface="Segoe UI Light" pitchFamily="34" charset="0"/>
                <a:ea typeface="+mn-ea"/>
                <a:cs typeface="+mn-cs"/>
              </a:rPr>
              <a:t>because they are </a:t>
            </a:r>
            <a:r>
              <a:rPr lang="en-US" sz="900" b="1" i="0" kern="1200" dirty="0">
                <a:solidFill>
                  <a:schemeClr val="tx1"/>
                </a:solidFill>
                <a:effectLst/>
                <a:latin typeface="Segoe UI Light" pitchFamily="34" charset="0"/>
                <a:ea typeface="+mn-ea"/>
                <a:cs typeface="+mn-cs"/>
              </a:rPr>
              <a:t>acquired before a lock at the lower level</a:t>
            </a:r>
            <a:r>
              <a:rPr lang="en-US" sz="900" b="0" i="0" kern="1200" dirty="0">
                <a:solidFill>
                  <a:schemeClr val="tx1"/>
                </a:solidFill>
                <a:effectLst/>
                <a:latin typeface="Segoe UI Light" pitchFamily="34" charset="0"/>
                <a:ea typeface="+mn-ea"/>
                <a:cs typeface="+mn-cs"/>
              </a:rPr>
              <a:t>, and </a:t>
            </a:r>
            <a:r>
              <a:rPr lang="en-US" sz="900" b="0" i="0" u="sng" kern="1200" dirty="0">
                <a:solidFill>
                  <a:schemeClr val="tx1"/>
                </a:solidFill>
                <a:effectLst/>
                <a:latin typeface="Segoe UI Light" pitchFamily="34" charset="0"/>
                <a:ea typeface="+mn-ea"/>
                <a:cs typeface="+mn-cs"/>
              </a:rPr>
              <a:t>therefore signal intent to place locks at a lower level.</a:t>
            </a:r>
          </a:p>
          <a:p>
            <a:r>
              <a:rPr lang="en-US" sz="900" b="0" i="0" kern="1200" dirty="0">
                <a:solidFill>
                  <a:schemeClr val="tx1"/>
                </a:solidFill>
                <a:effectLst/>
                <a:latin typeface="Segoe UI Light" pitchFamily="34" charset="0"/>
                <a:ea typeface="+mn-ea"/>
                <a:cs typeface="+mn-cs"/>
              </a:rPr>
              <a:t>Intent locks serve two purposes:</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prevent other transactions from modifying the higher-level resource </a:t>
            </a:r>
            <a:r>
              <a:rPr lang="en-US" sz="900" b="0" i="0" kern="1200" dirty="0">
                <a:solidFill>
                  <a:schemeClr val="tx1"/>
                </a:solidFill>
                <a:effectLst/>
                <a:latin typeface="Segoe UI Light" pitchFamily="34" charset="0"/>
                <a:ea typeface="+mn-ea"/>
                <a:cs typeface="+mn-cs"/>
              </a:rPr>
              <a:t>in a way that would invalidate the lock at the lower level.</a:t>
            </a:r>
          </a:p>
          <a:p>
            <a:pPr marL="171450" indent="-171450">
              <a:buFont typeface="Arial" panose="020B0604020202020204" pitchFamily="34" charset="0"/>
              <a:buChar char="•"/>
            </a:pPr>
            <a:r>
              <a:rPr lang="en-US" sz="900" b="0" i="0" kern="1200" dirty="0">
                <a:solidFill>
                  <a:schemeClr val="tx1"/>
                </a:solidFill>
                <a:effectLst/>
                <a:latin typeface="Segoe UI Light" pitchFamily="34" charset="0"/>
                <a:ea typeface="+mn-ea"/>
                <a:cs typeface="+mn-cs"/>
              </a:rPr>
              <a:t>To </a:t>
            </a:r>
            <a:r>
              <a:rPr lang="en-US" sz="900" b="1" i="0" kern="1200" dirty="0">
                <a:solidFill>
                  <a:schemeClr val="tx1"/>
                </a:solidFill>
                <a:effectLst/>
                <a:latin typeface="Segoe UI Light" pitchFamily="34" charset="0"/>
                <a:ea typeface="+mn-ea"/>
                <a:cs typeface="+mn-cs"/>
              </a:rPr>
              <a:t>improve the efficiency of the SQL Server Database Engine </a:t>
            </a:r>
            <a:r>
              <a:rPr lang="en-US" sz="900" b="0" i="0" kern="1200" dirty="0">
                <a:solidFill>
                  <a:schemeClr val="tx1"/>
                </a:solidFill>
                <a:effectLst/>
                <a:latin typeface="Segoe UI Light" pitchFamily="34" charset="0"/>
                <a:ea typeface="+mn-ea"/>
                <a:cs typeface="+mn-cs"/>
              </a:rPr>
              <a:t>in detecting lock conflicts at the higher level of granularity.</a:t>
            </a:r>
          </a:p>
          <a:p>
            <a:pPr marL="217261" lvl="2" indent="0">
              <a:buNone/>
            </a:pP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example,</a:t>
            </a:r>
            <a:r>
              <a:rPr lang="en-US" sz="1100" dirty="0">
                <a:latin typeface="Segoe UI" panose="020B0502040204020203" pitchFamily="34" charset="0"/>
                <a:cs typeface="Segoe UI" panose="020B0502040204020203" pitchFamily="34" charset="0"/>
              </a:rPr>
              <a:t> a shared intent lock placed at the table level means that a transaction intends on placing shared (S) locks on pages or rows within that table. Setting an intent lock at the table level prevents another transaction from subsequently acquiring an exclusive (X) lock on the table containing that page.</a:t>
            </a:r>
          </a:p>
          <a:p>
            <a:r>
              <a:rPr lang="en-US" sz="1100" b="1" dirty="0">
                <a:latin typeface="Segoe UI" panose="020B0502040204020203" pitchFamily="34" charset="0"/>
                <a:cs typeface="Segoe UI" panose="020B0502040204020203" pitchFamily="34" charset="0"/>
              </a:rPr>
              <a:t>Intent locks improve performance </a:t>
            </a:r>
            <a:r>
              <a:rPr lang="en-US" sz="1100" dirty="0">
                <a:latin typeface="Segoe UI" panose="020B0502040204020203" pitchFamily="34" charset="0"/>
                <a:cs typeface="Segoe UI" panose="020B0502040204020203" pitchFamily="34" charset="0"/>
              </a:rPr>
              <a:t>because SQL Server examines intent locks only at the table level to determine whether a transaction can safely acquire a lock on that table. This removes the requirement to examine every row or page lock on the table to determine whether a transaction can lock the entire table.</a:t>
            </a:r>
          </a:p>
          <a:p>
            <a:endParaRPr lang="en-GB" dirty="0"/>
          </a:p>
          <a:p>
            <a:r>
              <a:rPr lang="en-GB" dirty="0"/>
              <a:t>References </a:t>
            </a:r>
            <a:r>
              <a:rPr lang="en-US" dirty="0">
                <a:hlinkClick r:id="rId3"/>
              </a:rPr>
              <a:t>https://docs.microsoft.com/en-us/sql/relational-databases/sql-server-transaction-locking-and-row-versioning-guide?view=sql-server-ver15</a:t>
            </a:r>
            <a:endParaRPr lang="en-US" dirty="0"/>
          </a:p>
          <a:p>
            <a:endParaRPr lang="en-GB"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dirty="0"/>
          </a:p>
        </p:txBody>
      </p:sp>
    </p:spTree>
    <p:extLst>
      <p:ext uri="{BB962C8B-B14F-4D97-AF65-F5344CB8AC3E}">
        <p14:creationId xmlns:p14="http://schemas.microsoft.com/office/powerpoint/2010/main" val="20555662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Segoe UI" panose="020B0502040204020203" pitchFamily="34" charset="0"/>
                <a:cs typeface="Segoe UI" panose="020B0502040204020203" pitchFamily="34" charset="0"/>
              </a:rPr>
              <a:t>Lock Compatibility determines whether multiple lock requests for the same resource can be granted concurrently. If a transaction requests a lock on a resource that has locks in place and are compatible with the requested lock, the lock will be granted. If the locks already in place are not compatible with the requested lock, the request will not be granted and the transaction will be blocked until the lock becomes available or the transaction times out while waiting.</a:t>
            </a:r>
          </a:p>
          <a:p>
            <a:r>
              <a:rPr lang="en-US" sz="900" dirty="0">
                <a:latin typeface="Segoe UI" panose="020B0502040204020203" pitchFamily="34" charset="0"/>
                <a:cs typeface="Segoe UI" panose="020B0502040204020203" pitchFamily="34" charset="0"/>
              </a:rPr>
              <a:t>An intent exclusive (IX) lock is compatible with an IX lock mode because IX means that the intention is to update only some of the rows, rather than all of them. Other transactions that attempt to read or update some of the rows are also permitted as long as they are not the same rows being updated by other transactions.</a:t>
            </a:r>
          </a:p>
          <a:p>
            <a:r>
              <a:rPr lang="en-US" sz="900" dirty="0">
                <a:latin typeface="Segoe UI" panose="020B0502040204020203" pitchFamily="34" charset="0"/>
                <a:cs typeface="Segoe UI" panose="020B0502040204020203" pitchFamily="34" charset="0"/>
              </a:rPr>
              <a:t>IX locks can be applied at any level of granularity above the leaf level. If a row is locked, SQL Server will apply intent locks at both the page and the table level. If a page is locked, SQL Server will apply an intent lock at the table level. </a:t>
            </a:r>
          </a:p>
          <a:p>
            <a:r>
              <a:rPr lang="en-US" sz="900" dirty="0">
                <a:latin typeface="Segoe UI" panose="020B0502040204020203" pitchFamily="34" charset="0"/>
                <a:cs typeface="Segoe UI" panose="020B0502040204020203" pitchFamily="34" charset="0"/>
              </a:rPr>
              <a:t>SIX locks imply that there is a shared access to a resource and that there are X locks placed at a lower level in the hierarchy. SQL Server never asks for SIX locks directly; they are always the result of a conversion. For example, suppose a transaction scanned a page by using an S lock and then subsequently decided to perform a row-level update. The row would obtain an X lock but now the page would require an IX lock. The resultant mode on the page would be SIX. </a:t>
            </a:r>
          </a:p>
          <a:p>
            <a:pPr marL="0" indent="0">
              <a:buNone/>
            </a:pPr>
            <a:endParaRPr lang="en-US" sz="900" dirty="0">
              <a:latin typeface="Segoe UI" panose="020B0502040204020203" pitchFamily="34" charset="0"/>
              <a:cs typeface="Segoe UI" panose="020B0502040204020203" pitchFamily="34" charset="0"/>
            </a:endParaRPr>
          </a:p>
          <a:p>
            <a:pPr marL="0" indent="0">
              <a:buNone/>
            </a:pPr>
            <a:r>
              <a:rPr lang="en-US" sz="900" b="1" dirty="0">
                <a:latin typeface="Segoe UI" panose="020B0502040204020203" pitchFamily="34" charset="0"/>
                <a:cs typeface="Segoe UI" panose="020B0502040204020203" pitchFamily="34" charset="0"/>
              </a:rPr>
              <a:t>For more information</a:t>
            </a:r>
            <a:r>
              <a:rPr lang="en-US" sz="900" dirty="0">
                <a:latin typeface="Segoe UI" panose="020B0502040204020203" pitchFamily="34" charset="0"/>
                <a:cs typeface="Segoe UI" panose="020B0502040204020203" pitchFamily="34" charset="0"/>
              </a:rPr>
              <a:t> on Lock Compatibility, refer: </a:t>
            </a:r>
            <a:r>
              <a:rPr lang="en-US" sz="900" u="sng" dirty="0">
                <a:latin typeface="Segoe UI" panose="020B0502040204020203" pitchFamily="34" charset="0"/>
                <a:cs typeface="Segoe UI" panose="020B0502040204020203" pitchFamily="34" charset="0"/>
                <a:hlinkClick r:id="rId3"/>
              </a:rPr>
              <a:t>http://msdn.microsoft.com/en-us/library/ms186396.aspx</a:t>
            </a:r>
            <a:r>
              <a:rPr lang="en-US" sz="900" u="sng" dirty="0">
                <a:latin typeface="Segoe UI" panose="020B0502040204020203" pitchFamily="34" charset="0"/>
                <a:cs typeface="Segoe UI" panose="020B0502040204020203" pitchFamily="34" charset="0"/>
              </a:rPr>
              <a:t> </a:t>
            </a:r>
            <a:endParaRPr lang="en-US" sz="900" dirty="0">
              <a:latin typeface="Segoe UI" panose="020B0502040204020203" pitchFamily="34" charset="0"/>
              <a:cs typeface="Segoe UI" panose="020B0502040204020203" pitchFamily="34" charset="0"/>
            </a:endParaRPr>
          </a:p>
          <a:p>
            <a:pPr marL="0" indent="0">
              <a:buNone/>
            </a:pPr>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779045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latin typeface="Segoe UI" panose="020B0502040204020203" pitchFamily="34" charset="0"/>
                <a:cs typeface="Segoe UI" panose="020B0502040204020203" pitchFamily="34" charset="0"/>
              </a:rPr>
              <a:t>Key Points</a:t>
            </a:r>
          </a:p>
          <a:p>
            <a:pPr lvl="1"/>
            <a:r>
              <a:rPr lang="en-US" sz="800" b="0" i="0" kern="1200" dirty="0">
                <a:solidFill>
                  <a:schemeClr val="tx1"/>
                </a:solidFill>
                <a:effectLst/>
                <a:latin typeface="Segoe UI Light" pitchFamily="34" charset="0"/>
                <a:ea typeface="+mn-ea"/>
                <a:cs typeface="+mn-cs"/>
              </a:rPr>
              <a:t>Dynamic locking has the following advantages:</a:t>
            </a:r>
          </a:p>
          <a:p>
            <a:pPr marL="438912" lvl="1" indent="-228600"/>
            <a:r>
              <a:rPr lang="en-US" sz="800" b="1" i="0" kern="1200" dirty="0">
                <a:solidFill>
                  <a:schemeClr val="tx1"/>
                </a:solidFill>
                <a:effectLst/>
                <a:latin typeface="Segoe UI Light" pitchFamily="34" charset="0"/>
                <a:ea typeface="+mn-ea"/>
                <a:cs typeface="+mn-cs"/>
              </a:rPr>
              <a:t>Simplified database administration</a:t>
            </a:r>
            <a:r>
              <a:rPr lang="en-US" sz="800" b="0" i="0" kern="1200" dirty="0">
                <a:solidFill>
                  <a:schemeClr val="tx1"/>
                </a:solidFill>
                <a:effectLst/>
                <a:latin typeface="Segoe UI Light" pitchFamily="34" charset="0"/>
                <a:ea typeface="+mn-ea"/>
                <a:cs typeface="+mn-cs"/>
              </a:rPr>
              <a:t>. Database administrators do not have to adjust lock escalation thresholds.</a:t>
            </a:r>
          </a:p>
          <a:p>
            <a:pPr marL="438912" lvl="1" indent="-228600"/>
            <a:r>
              <a:rPr lang="en-US" sz="800" b="1" i="0" kern="1200" dirty="0">
                <a:solidFill>
                  <a:schemeClr val="tx1"/>
                </a:solidFill>
                <a:effectLst/>
                <a:latin typeface="Segoe UI Light" pitchFamily="34" charset="0"/>
                <a:ea typeface="+mn-ea"/>
                <a:cs typeface="+mn-cs"/>
              </a:rPr>
              <a:t>Increased performance</a:t>
            </a:r>
            <a:r>
              <a:rPr lang="en-US" sz="800" b="0" i="0" kern="1200" dirty="0">
                <a:solidFill>
                  <a:schemeClr val="tx1"/>
                </a:solidFill>
                <a:effectLst/>
                <a:latin typeface="Segoe UI Light" pitchFamily="34" charset="0"/>
                <a:ea typeface="+mn-ea"/>
                <a:cs typeface="+mn-cs"/>
              </a:rPr>
              <a:t>. The SQL Server Database Engine minimizes system overhead by using locks appropriate to the task.</a:t>
            </a:r>
          </a:p>
          <a:p>
            <a:pPr marL="438912" lvl="1" indent="-228600"/>
            <a:r>
              <a:rPr lang="en-US" sz="800" b="1" i="0" kern="1200" dirty="0">
                <a:solidFill>
                  <a:schemeClr val="tx1"/>
                </a:solidFill>
                <a:effectLst/>
                <a:latin typeface="Segoe UI Light" pitchFamily="34" charset="0"/>
                <a:ea typeface="+mn-ea"/>
                <a:cs typeface="+mn-cs"/>
              </a:rPr>
              <a:t>Application developers can concentrate on development</a:t>
            </a:r>
            <a:r>
              <a:rPr lang="en-US" sz="800" b="0" i="0" kern="1200" dirty="0">
                <a:solidFill>
                  <a:schemeClr val="tx1"/>
                </a:solidFill>
                <a:effectLst/>
                <a:latin typeface="Segoe UI Light" pitchFamily="34" charset="0"/>
                <a:ea typeface="+mn-ea"/>
                <a:cs typeface="+mn-cs"/>
              </a:rPr>
              <a:t>. The SQL Server Database Engine adjusts locking automatically.</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0" indent="0">
              <a:buFont typeface="Arial" panose="020B0604020202020204" pitchFamily="34" charset="0"/>
              <a:buNone/>
            </a:pPr>
            <a:endParaRPr lang="en-US" b="1"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modifying individual rows</a:t>
            </a:r>
            <a:r>
              <a:rPr lang="en-US" dirty="0">
                <a:latin typeface="Segoe UI" panose="020B0502040204020203" pitchFamily="34" charset="0"/>
                <a:cs typeface="Segoe UI" panose="020B0502040204020203" pitchFamily="34" charset="0"/>
              </a:rPr>
              <a:t>, SQL Server typically takes </a:t>
            </a:r>
            <a:r>
              <a:rPr lang="en-US" u="sng" dirty="0">
                <a:latin typeface="Segoe UI" panose="020B0502040204020203" pitchFamily="34" charset="0"/>
                <a:cs typeface="Segoe UI" panose="020B0502040204020203" pitchFamily="34" charset="0"/>
              </a:rPr>
              <a:t>row locks to maximize concurrency </a:t>
            </a:r>
            <a:r>
              <a:rPr lang="en-US" dirty="0">
                <a:latin typeface="Segoe UI" panose="020B0502040204020203" pitchFamily="34" charset="0"/>
                <a:cs typeface="Segoe UI" panose="020B0502040204020203" pitchFamily="34" charset="0"/>
              </a:rPr>
              <a:t>(for example, </a:t>
            </a:r>
            <a:r>
              <a:rPr lang="en-US" b="1" dirty="0">
                <a:latin typeface="Segoe UI" panose="020B0502040204020203" pitchFamily="34" charset="0"/>
                <a:cs typeface="Segoe UI" panose="020B0502040204020203" pitchFamily="34" charset="0"/>
              </a:rPr>
              <a:t>OLTP and order-entry </a:t>
            </a:r>
            <a:r>
              <a:rPr lang="en-US" dirty="0">
                <a:latin typeface="Segoe UI" panose="020B0502040204020203" pitchFamily="34" charset="0"/>
                <a:cs typeface="Segoe UI" panose="020B0502040204020203" pitchFamily="34" charset="0"/>
              </a:rPr>
              <a:t>applications).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When scanning larger volumes of data</a:t>
            </a:r>
            <a:r>
              <a:rPr lang="en-US" dirty="0">
                <a:latin typeface="Segoe UI" panose="020B0502040204020203" pitchFamily="34" charset="0"/>
                <a:cs typeface="Segoe UI" panose="020B0502040204020203" pitchFamily="34" charset="0"/>
              </a:rPr>
              <a:t>, it would be </a:t>
            </a:r>
            <a:r>
              <a:rPr lang="en-US" u="sng" dirty="0">
                <a:latin typeface="Segoe UI" panose="020B0502040204020203" pitchFamily="34" charset="0"/>
                <a:cs typeface="Segoe UI" panose="020B0502040204020203" pitchFamily="34" charset="0"/>
              </a:rPr>
              <a:t>more appropriate to take page or table locks to minimize the cost of acquiring locks</a:t>
            </a:r>
            <a:r>
              <a:rPr lang="en-US" dirty="0">
                <a:latin typeface="Segoe UI" panose="020B0502040204020203" pitchFamily="34" charset="0"/>
                <a:cs typeface="Segoe UI" panose="020B0502040204020203" pitchFamily="34" charset="0"/>
              </a:rPr>
              <a:t> (for example, </a:t>
            </a:r>
            <a:r>
              <a:rPr lang="en-US" b="1" dirty="0">
                <a:latin typeface="Segoe UI" panose="020B0502040204020203" pitchFamily="34" charset="0"/>
                <a:cs typeface="Segoe UI" panose="020B0502040204020203" pitchFamily="34" charset="0"/>
              </a:rPr>
              <a:t>Decision Support System (DSS), </a:t>
            </a:r>
            <a:r>
              <a:rPr lang="en-US" dirty="0">
                <a:latin typeface="Segoe UI" panose="020B0502040204020203" pitchFamily="34" charset="0"/>
                <a:cs typeface="Segoe UI" panose="020B0502040204020203" pitchFamily="34" charset="0"/>
              </a:rPr>
              <a:t>data warehouse, and reporting). </a:t>
            </a:r>
          </a:p>
          <a:p>
            <a:pPr marL="171450" indent="-171450">
              <a:buFont typeface="Arial" panose="020B0604020202020204" pitchFamily="34" charset="0"/>
              <a:buChar char="•"/>
            </a:pPr>
            <a:r>
              <a:rPr lang="en-US" b="1" dirty="0">
                <a:latin typeface="Segoe UI" panose="020B0502040204020203" pitchFamily="34" charset="0"/>
                <a:cs typeface="Segoe UI" panose="020B0502040204020203" pitchFamily="34" charset="0"/>
              </a:rPr>
              <a:t>Allowing SQL Server to use locks dynamically is the recommended configuration. </a:t>
            </a:r>
          </a:p>
          <a:p>
            <a:pPr marL="171450" indent="-171450">
              <a:buFont typeface="Arial" panose="020B0604020202020204" pitchFamily="34" charset="0"/>
              <a:buChar char="•"/>
            </a:pPr>
            <a:r>
              <a:rPr lang="en-US" dirty="0">
                <a:latin typeface="Segoe UI" panose="020B0502040204020203" pitchFamily="34" charset="0"/>
                <a:cs typeface="Segoe UI" panose="020B0502040204020203" pitchFamily="34" charset="0"/>
              </a:rPr>
              <a:t>However, </a:t>
            </a:r>
            <a:r>
              <a:rPr lang="en-US" u="sng" dirty="0">
                <a:latin typeface="Segoe UI" panose="020B0502040204020203" pitchFamily="34" charset="0"/>
                <a:cs typeface="Segoe UI" panose="020B0502040204020203" pitchFamily="34" charset="0"/>
              </a:rPr>
              <a:t>you can set locks and override the ability of SQL Server to allocate lock resources dynamically</a:t>
            </a:r>
            <a:r>
              <a:rPr lang="en-US" dirty="0">
                <a:latin typeface="Segoe UI" panose="020B0502040204020203" pitchFamily="34" charset="0"/>
                <a:cs typeface="Segoe UI" panose="020B0502040204020203" pitchFamily="34" charset="0"/>
              </a:rPr>
              <a:t>. </a:t>
            </a:r>
          </a:p>
          <a:p>
            <a:endParaRPr lang="en-US" dirty="0">
              <a:latin typeface="Segoe UI" panose="020B0502040204020203" pitchFamily="34" charset="0"/>
              <a:cs typeface="Segoe UI" panose="020B0502040204020203" pitchFamily="34" charset="0"/>
            </a:endParaRPr>
          </a:p>
          <a:p>
            <a:r>
              <a:rPr lang="en-GB" sz="800" b="1" dirty="0">
                <a:latin typeface="Segoe UI" panose="020B0502040204020203" pitchFamily="34" charset="0"/>
                <a:cs typeface="Segoe UI" panose="020B0502040204020203" pitchFamily="34" charset="0"/>
              </a:rPr>
              <a:t>When the server is started with locks set to 0, the lock manager acquires sufficient memory from the Database Engine for an initial pool of 2,500 lock structures. As the lock pool is exhausted, additional memory is acquired for the pool.</a:t>
            </a:r>
            <a:endParaRPr lang="en-US"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Generally, </a:t>
            </a:r>
            <a:r>
              <a:rPr lang="en-GB" sz="800" u="none" dirty="0">
                <a:latin typeface="Segoe UI" panose="020B0502040204020203" pitchFamily="34" charset="0"/>
                <a:cs typeface="Segoe UI" panose="020B0502040204020203" pitchFamily="34" charset="0"/>
              </a:rPr>
              <a:t>if more memory is required for the lock pool than is available in the Database Engine memory pool, and more computer memory is available (the max server memory threshold has not been reached), the Database Engine allocates memory dynamically to satisfy the request for locks</a:t>
            </a:r>
            <a:r>
              <a:rPr lang="en-GB" sz="800" dirty="0">
                <a:latin typeface="Segoe UI" panose="020B0502040204020203" pitchFamily="34" charset="0"/>
                <a:cs typeface="Segoe UI" panose="020B0502040204020203" pitchFamily="34" charset="0"/>
              </a:rPr>
              <a:t>. </a:t>
            </a:r>
          </a:p>
          <a:p>
            <a:endParaRPr lang="en-GB"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However, </a:t>
            </a:r>
            <a:r>
              <a:rPr lang="en-GB" sz="800" b="1" dirty="0">
                <a:latin typeface="Segoe UI" panose="020B0502040204020203" pitchFamily="34" charset="0"/>
                <a:cs typeface="Segoe UI" panose="020B0502040204020203" pitchFamily="34" charset="0"/>
              </a:rPr>
              <a:t>if allocating that memory would cause paging at the operating system level (</a:t>
            </a:r>
            <a:r>
              <a:rPr lang="en-GB" sz="800" b="0" dirty="0">
                <a:latin typeface="Segoe UI" panose="020B0502040204020203" pitchFamily="34" charset="0"/>
                <a:cs typeface="Segoe UI" panose="020B0502040204020203" pitchFamily="34" charset="0"/>
              </a:rPr>
              <a:t>for example, if another application is running on the same computer as an instance of SQL Server and using that memory)</a:t>
            </a:r>
            <a:r>
              <a:rPr lang="en-GB" sz="800" b="1" dirty="0">
                <a:latin typeface="Segoe UI" panose="020B0502040204020203" pitchFamily="34" charset="0"/>
                <a:cs typeface="Segoe UI" panose="020B0502040204020203" pitchFamily="34" charset="0"/>
              </a:rPr>
              <a:t>, more lock space is not allocated.</a:t>
            </a:r>
          </a:p>
          <a:p>
            <a:endParaRPr lang="en-GB" sz="800" b="1"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a:t>
            </a:r>
            <a:r>
              <a:rPr lang="en-GB" sz="800" b="1" dirty="0">
                <a:latin typeface="Segoe UI" panose="020B0502040204020203" pitchFamily="34" charset="0"/>
                <a:cs typeface="Segoe UI" panose="020B0502040204020203" pitchFamily="34" charset="0"/>
              </a:rPr>
              <a:t>dynamic lock pool does not acquire more than 60% of the memory allocated to the Database Engine</a:t>
            </a:r>
            <a:r>
              <a:rPr lang="en-GB" sz="800" dirty="0">
                <a:latin typeface="Segoe UI" panose="020B0502040204020203" pitchFamily="34" charset="0"/>
                <a:cs typeface="Segoe UI" panose="020B0502040204020203" pitchFamily="34" charset="0"/>
              </a:rPr>
              <a:t>. After the lock pool has reached 60% of the memory acquired by an instance of the Database Engine, or no more memory is available on the computer, further requests for locks generates an error.</a:t>
            </a:r>
          </a:p>
          <a:p>
            <a:endParaRPr lang="en-US" sz="800" dirty="0">
              <a:latin typeface="Segoe UI" panose="020B0502040204020203" pitchFamily="34" charset="0"/>
              <a:cs typeface="Segoe UI" panose="020B0502040204020203" pitchFamily="34" charset="0"/>
            </a:endParaRPr>
          </a:p>
          <a:p>
            <a:r>
              <a:rPr lang="en-GB" sz="800" dirty="0">
                <a:latin typeface="Segoe UI" panose="020B0502040204020203" pitchFamily="34" charset="0"/>
                <a:cs typeface="Segoe UI" panose="020B0502040204020203" pitchFamily="34" charset="0"/>
              </a:rPr>
              <a:t>The locks option also affects when lock escalation occurs. When locks are set to 0, lock escalation occurs when the memory used by the current lock structures reaches 40% of the Database Engine memory pool. When locks are not set to 0, lock escalation occurs when the number of locks reaches 40% of the value specified for locks.</a:t>
            </a:r>
            <a:endParaRPr lang="en-US" sz="800"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b="1" dirty="0">
                <a:latin typeface="Segoe UI" panose="020B0502040204020203" pitchFamily="34" charset="0"/>
                <a:cs typeface="Segoe UI" panose="020B0502040204020203" pitchFamily="34" charset="0"/>
              </a:rPr>
              <a:t>For more information</a:t>
            </a:r>
            <a:r>
              <a:rPr lang="en-US" dirty="0">
                <a:latin typeface="Segoe UI" panose="020B0502040204020203" pitchFamily="34" charset="0"/>
                <a:cs typeface="Segoe UI" panose="020B0502040204020203" pitchFamily="34" charset="0"/>
              </a:rPr>
              <a:t> on </a:t>
            </a:r>
            <a:r>
              <a:rPr lang="en-GB" dirty="0">
                <a:latin typeface="Segoe UI" panose="020B0502040204020203" pitchFamily="34" charset="0"/>
                <a:cs typeface="Segoe UI" panose="020B0502040204020203" pitchFamily="34" charset="0"/>
              </a:rPr>
              <a:t>Configure the locks Server Configuration Option, refer: </a:t>
            </a:r>
            <a:r>
              <a:rPr lang="en-US" dirty="0">
                <a:hlinkClick r:id="rId3"/>
              </a:rPr>
              <a:t>https://docs.microsoft.com/en-us/sql/database-engine/configure-windows/configure-the-locks-server-configuration-option?redirectedfrom=MSDN&amp;view=sql-server-ver15</a:t>
            </a:r>
            <a:endParaRPr lang="en-US"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dirty="0"/>
          </a:p>
        </p:txBody>
      </p:sp>
    </p:spTree>
    <p:extLst>
      <p:ext uri="{BB962C8B-B14F-4D97-AF65-F5344CB8AC3E}">
        <p14:creationId xmlns:p14="http://schemas.microsoft.com/office/powerpoint/2010/main" val="26546006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Key Points:</a:t>
            </a:r>
          </a:p>
          <a:p>
            <a:pPr marL="228600" indent="-228600">
              <a:buFont typeface="+mj-lt"/>
              <a:buAutoNum type="arabicPeriod"/>
            </a:pPr>
            <a:r>
              <a:rPr lang="en-US" sz="900" b="0" i="0" kern="1200" dirty="0">
                <a:solidFill>
                  <a:schemeClr val="tx1"/>
                </a:solidFill>
                <a:effectLst/>
                <a:latin typeface="Segoe UI Light" pitchFamily="34" charset="0"/>
                <a:ea typeface="+mn-ea"/>
                <a:cs typeface="+mn-cs"/>
              </a:rPr>
              <a:t>To prevent a situation where locking is using too many resources, SQL Server has introduced the lock escalation feature.</a:t>
            </a:r>
          </a:p>
          <a:p>
            <a:pPr marL="228600" indent="-228600">
              <a:buFont typeface="+mj-lt"/>
              <a:buAutoNum type="arabicPeriod"/>
            </a:pPr>
            <a:r>
              <a:rPr lang="en-US" sz="1100" b="1" dirty="0">
                <a:latin typeface="Segoe UI" panose="020B0502040204020203" pitchFamily="34" charset="0"/>
                <a:cs typeface="Segoe UI" panose="020B0502040204020203" pitchFamily="34" charset="0"/>
              </a:rPr>
              <a:t>Escalation Always </a:t>
            </a:r>
            <a:r>
              <a:rPr lang="en-US" sz="1100" dirty="0">
                <a:latin typeface="Segoe UI" panose="020B0502040204020203" pitchFamily="34" charset="0"/>
                <a:cs typeface="Segoe UI" panose="020B0502040204020203" pitchFamily="34" charset="0"/>
              </a:rPr>
              <a:t>Happen from </a:t>
            </a:r>
            <a:r>
              <a:rPr lang="en-US" sz="1100" b="1" dirty="0">
                <a:latin typeface="Segoe UI" panose="020B0502040204020203" pitchFamily="34" charset="0"/>
                <a:cs typeface="Segoe UI" panose="020B0502040204020203" pitchFamily="34" charset="0"/>
              </a:rPr>
              <a:t>R</a:t>
            </a:r>
            <a:r>
              <a:rPr lang="en-US" sz="1100" b="1" dirty="0">
                <a:latin typeface="Segoe UI" panose="020B0502040204020203" pitchFamily="34" charset="0"/>
                <a:cs typeface="Segoe UI" panose="020B0502040204020203" pitchFamily="34" charset="0"/>
                <a:sym typeface="Wingdings" panose="05000000000000000000" pitchFamily="2" charset="2"/>
              </a:rPr>
              <a:t>ow-&gt;Table </a:t>
            </a:r>
            <a:r>
              <a:rPr lang="en-US" sz="1100" b="0" dirty="0">
                <a:latin typeface="Segoe UI" panose="020B0502040204020203" pitchFamily="34" charset="0"/>
                <a:cs typeface="Segoe UI" panose="020B0502040204020203" pitchFamily="34" charset="0"/>
                <a:sym typeface="Wingdings" panose="05000000000000000000" pitchFamily="2" charset="2"/>
              </a:rPr>
              <a:t>or</a:t>
            </a:r>
            <a:r>
              <a:rPr lang="en-US" sz="1100" b="1" dirty="0">
                <a:latin typeface="Segoe UI" panose="020B0502040204020203" pitchFamily="34" charset="0"/>
                <a:cs typeface="Segoe UI" panose="020B0502040204020203" pitchFamily="34" charset="0"/>
                <a:sym typeface="Wingdings" panose="05000000000000000000" pitchFamily="2" charset="2"/>
              </a:rPr>
              <a:t> Page -&gt; Table</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dirty="0">
                <a:latin typeface="Segoe UI" panose="020B0502040204020203" pitchFamily="34" charset="0"/>
                <a:cs typeface="Segoe UI" panose="020B0502040204020203" pitchFamily="34" charset="0"/>
              </a:rPr>
              <a:t>When a single Transact-SQL (T-SQL) statement requires  5,000 row locks then it convert it to a single table or index Loc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100" b="1" i="0" kern="1200" dirty="0">
                <a:solidFill>
                  <a:schemeClr val="tx1"/>
                </a:solidFill>
                <a:effectLst/>
                <a:latin typeface="Segoe UI Light" pitchFamily="34" charset="0"/>
                <a:ea typeface="+mn-ea"/>
                <a:cs typeface="+mn-cs"/>
              </a:rPr>
              <a:t>In SQL Server 2019 (15.x), </a:t>
            </a:r>
            <a:r>
              <a:rPr lang="en-US" sz="1100" b="0" i="0" kern="1200" dirty="0">
                <a:solidFill>
                  <a:schemeClr val="tx1"/>
                </a:solidFill>
                <a:effectLst/>
                <a:latin typeface="Segoe UI Light" pitchFamily="34" charset="0"/>
                <a:ea typeface="+mn-ea"/>
                <a:cs typeface="+mn-cs"/>
              </a:rPr>
              <a:t>the </a:t>
            </a:r>
            <a:r>
              <a:rPr lang="en-US" sz="1600" dirty="0"/>
              <a:t>LOCK_ESCALATION</a:t>
            </a:r>
            <a:r>
              <a:rPr lang="en-US" sz="1100" b="0" i="0" kern="1200" dirty="0">
                <a:solidFill>
                  <a:schemeClr val="tx1"/>
                </a:solidFill>
                <a:effectLst/>
                <a:latin typeface="Segoe UI Light" pitchFamily="34" charset="0"/>
                <a:ea typeface="+mn-ea"/>
                <a:cs typeface="+mn-cs"/>
              </a:rPr>
              <a:t> option of </a:t>
            </a:r>
            <a:r>
              <a:rPr lang="en-US" sz="1600" dirty="0"/>
              <a:t>ALTER TABLE</a:t>
            </a:r>
            <a:r>
              <a:rPr lang="en-US" sz="1100" b="0" i="0" kern="1200" dirty="0">
                <a:solidFill>
                  <a:schemeClr val="tx1"/>
                </a:solidFill>
                <a:effectLst/>
                <a:latin typeface="Segoe UI Light" pitchFamily="34" charset="0"/>
                <a:ea typeface="+mn-ea"/>
                <a:cs typeface="+mn-cs"/>
              </a:rPr>
              <a:t> can disfavor table locks, and enable HoBT locks on partitioned tables. This option is not a locking hint but can be used to reduce lock escal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1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100" dirty="0">
                <a:latin typeface="Segoe UI" panose="020B0502040204020203" pitchFamily="34" charset="0"/>
                <a:cs typeface="Segoe UI" panose="020B0502040204020203" pitchFamily="34" charset="0"/>
              </a:rPr>
              <a:t>===============</a:t>
            </a:r>
          </a:p>
          <a:p>
            <a:r>
              <a:rPr lang="en-US" sz="1100" dirty="0">
                <a:latin typeface="Segoe UI" panose="020B0502040204020203" pitchFamily="34" charset="0"/>
                <a:cs typeface="Segoe UI" panose="020B0502040204020203" pitchFamily="34" charset="0"/>
              </a:rPr>
              <a:t>When the lock count for a transaction is a multiple of the escalation threshold, the lock manager attempts to escalate the locks. The number of locks held may continue to increase after the escalation attempt (for example, because new tables are accessed, or the previous lock escalation attempts failed due to incompatible locks held by another SPID (server process ID)). </a:t>
            </a: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The </a:t>
            </a:r>
            <a:r>
              <a:rPr lang="en-US" sz="1100" b="1" dirty="0">
                <a:latin typeface="Segoe UI" panose="020B0502040204020203" pitchFamily="34" charset="0"/>
                <a:cs typeface="Segoe UI" panose="020B0502040204020203" pitchFamily="34" charset="0"/>
              </a:rPr>
              <a:t>lock manager checks the lock memory that it is using and if it is more than 40% of the allocated buffer pool memory of SQL Server, it tries to find a scan where no escalation has already been performed. </a:t>
            </a:r>
            <a:r>
              <a:rPr lang="en-US" sz="1100" dirty="0">
                <a:latin typeface="Segoe UI" panose="020B0502040204020203" pitchFamily="34" charset="0"/>
                <a:cs typeface="Segoe UI" panose="020B0502040204020203" pitchFamily="34" charset="0"/>
              </a:rPr>
              <a:t>The lock manager repeats this search operation until all scans have been escalated or until the memory consumption drops. </a:t>
            </a:r>
          </a:p>
          <a:p>
            <a:r>
              <a:rPr lang="en-US" sz="1100" b="1" dirty="0">
                <a:latin typeface="Segoe UI" panose="020B0502040204020203" pitchFamily="34" charset="0"/>
                <a:cs typeface="Segoe UI" panose="020B0502040204020203" pitchFamily="34" charset="0"/>
              </a:rPr>
              <a:t>Lock escalation thresholds </a:t>
            </a:r>
          </a:p>
          <a:p>
            <a:pPr marL="109306" lvl="1" indent="0">
              <a:buNone/>
            </a:pPr>
            <a:r>
              <a:rPr lang="en-US" sz="1100" dirty="0">
                <a:latin typeface="Segoe UI" panose="020B0502040204020203" pitchFamily="34" charset="0"/>
                <a:cs typeface="Segoe UI" panose="020B0502040204020203" pitchFamily="34" charset="0"/>
              </a:rPr>
              <a:t>Lock escalation can be triggered in any of the following situations: </a:t>
            </a:r>
          </a:p>
          <a:p>
            <a:pPr lvl="2"/>
            <a:r>
              <a:rPr lang="en-US" sz="1100" dirty="0">
                <a:latin typeface="Segoe UI" panose="020B0502040204020203" pitchFamily="34" charset="0"/>
                <a:cs typeface="Segoe UI" panose="020B0502040204020203" pitchFamily="34" charset="0"/>
              </a:rPr>
              <a:t>When a single Transact-SQL (T-SQL) statement acquires at least 5,000 locks on a single table or index</a:t>
            </a:r>
          </a:p>
          <a:p>
            <a:pPr lvl="2"/>
            <a:r>
              <a:rPr lang="en-US" sz="1100" dirty="0">
                <a:latin typeface="Segoe UI" panose="020B0502040204020203" pitchFamily="34" charset="0"/>
                <a:cs typeface="Segoe UI" panose="020B0502040204020203" pitchFamily="34" charset="0"/>
              </a:rPr>
              <a:t>When the number of locks in an instance of the Database Engine exceeds memory or configuration thresholds </a:t>
            </a:r>
          </a:p>
          <a:p>
            <a:pPr lvl="2"/>
            <a:r>
              <a:rPr lang="en-US" sz="1100" dirty="0">
                <a:latin typeface="Segoe UI" panose="020B0502040204020203" pitchFamily="34" charset="0"/>
                <a:cs typeface="Segoe UI" panose="020B0502040204020203" pitchFamily="34" charset="0"/>
              </a:rPr>
              <a:t>If locks cannot be escalated because of lock conflicts, the Database Engine periodically triggers lock escalation at every 1,250 new locks acquired</a:t>
            </a:r>
          </a:p>
          <a:p>
            <a:pPr lvl="1"/>
            <a:endParaRPr lang="en-US" dirty="0"/>
          </a:p>
          <a:p>
            <a:r>
              <a:rPr lang="en-US" sz="1100" b="1" dirty="0">
                <a:latin typeface="Segoe UI" panose="020B0502040204020203" pitchFamily="34" charset="0"/>
                <a:cs typeface="Segoe UI" panose="020B0502040204020203" pitchFamily="34" charset="0"/>
              </a:rPr>
              <a:t>Lock escalation behavior can be influenced by the trace flag -T1211</a:t>
            </a:r>
            <a:r>
              <a:rPr lang="en-US" sz="1100" dirty="0">
                <a:latin typeface="Segoe UI" panose="020B0502040204020203" pitchFamily="34" charset="0"/>
                <a:cs typeface="Segoe UI" panose="020B0502040204020203" pitchFamily="34" charset="0"/>
              </a:rPr>
              <a:t>. This disables the lock escalation for the instance. Enabling -T1211 does not prevent SQL Server from choosing page or table lock rather than row lock.</a:t>
            </a:r>
          </a:p>
          <a:p>
            <a:r>
              <a:rPr lang="en-US" sz="882" b="1" i="0" kern="1200" baseline="0" dirty="0">
                <a:solidFill>
                  <a:schemeClr val="tx1"/>
                </a:solidFill>
                <a:effectLst/>
                <a:latin typeface="+mn-lt"/>
                <a:ea typeface="+mn-ea"/>
                <a:cs typeface="+mn-cs"/>
              </a:rPr>
              <a:t>Disables lock escalation based on memory pressure, or based on number of locks</a:t>
            </a:r>
            <a:r>
              <a:rPr lang="en-US" sz="882" b="0" i="0" kern="1200" baseline="0" dirty="0">
                <a:solidFill>
                  <a:schemeClr val="tx1"/>
                </a:solidFill>
                <a:effectLst/>
                <a:latin typeface="+mn-lt"/>
                <a:ea typeface="+mn-ea"/>
                <a:cs typeface="+mn-cs"/>
              </a:rPr>
              <a:t>. The SQL Server Database Engine will not escalate row or page locks to table locks.</a:t>
            </a:r>
          </a:p>
          <a:p>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10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ALTER TABLE Table_name </a:t>
            </a:r>
            <a:r>
              <a:rPr lang="en-US" sz="900" dirty="0">
                <a:latin typeface="Segoe UI" panose="020B0502040204020203" pitchFamily="34" charset="0"/>
                <a:cs typeface="Segoe UI" panose="020B0502040204020203" pitchFamily="34" charset="0"/>
              </a:rPr>
              <a:t>SET ( LOCK_ESCALATION = { AUTO | TABLE | DISABLE } ) </a:t>
            </a:r>
          </a:p>
          <a:p>
            <a:endParaRPr lang="en-US" sz="1100" dirty="0">
              <a:latin typeface="Segoe UI" panose="020B0502040204020203" pitchFamily="34" charset="0"/>
              <a:cs typeface="Segoe UI" panose="020B0502040204020203" pitchFamily="34" charset="0"/>
            </a:endParaRPr>
          </a:p>
          <a:p>
            <a:pPr lvl="1"/>
            <a:r>
              <a:rPr lang="en-US" sz="1100" b="1" dirty="0">
                <a:latin typeface="Segoe UI" panose="020B0502040204020203" pitchFamily="34" charset="0"/>
                <a:cs typeface="Segoe UI" panose="020B0502040204020203" pitchFamily="34" charset="0"/>
              </a:rPr>
              <a:t>AUTO</a:t>
            </a:r>
            <a:r>
              <a:rPr lang="en-US" sz="1100" dirty="0">
                <a:latin typeface="Segoe UI" panose="020B0502040204020203" pitchFamily="34" charset="0"/>
                <a:cs typeface="Segoe UI" panose="020B0502040204020203" pitchFamily="34" charset="0"/>
              </a:rPr>
              <a:t>: This option enables SQL Server Database Engine to select the lock escalation granularity that is appropriate for the table schema.</a:t>
            </a:r>
          </a:p>
          <a:p>
            <a:pPr lvl="4"/>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If the table is partitioned</a:t>
            </a:r>
            <a:r>
              <a:rPr lang="en-US" sz="1100" dirty="0">
                <a:latin typeface="Segoe UI" panose="020B0502040204020203" pitchFamily="34" charset="0"/>
                <a:cs typeface="Segoe UI" panose="020B0502040204020203" pitchFamily="34" charset="0"/>
              </a:rPr>
              <a:t>, </a:t>
            </a:r>
            <a:r>
              <a:rPr lang="en-US" sz="1100" u="none" dirty="0">
                <a:latin typeface="Segoe UI" panose="020B0502040204020203" pitchFamily="34" charset="0"/>
                <a:cs typeface="Segoe UI" panose="020B0502040204020203" pitchFamily="34" charset="0"/>
              </a:rPr>
              <a:t>lock escalation will be at the </a:t>
            </a:r>
            <a:r>
              <a:rPr lang="en-US" sz="1100" u="sng" dirty="0">
                <a:latin typeface="Segoe UI" panose="020B0502040204020203" pitchFamily="34" charset="0"/>
                <a:cs typeface="Segoe UI" panose="020B0502040204020203" pitchFamily="34" charset="0"/>
              </a:rPr>
              <a:t>Partition level</a:t>
            </a:r>
            <a:r>
              <a:rPr lang="en-US" sz="1100" dirty="0">
                <a:latin typeface="Segoe UI" panose="020B0502040204020203" pitchFamily="34" charset="0"/>
                <a:cs typeface="Segoe UI" panose="020B0502040204020203" pitchFamily="34" charset="0"/>
              </a:rPr>
              <a:t>. </a:t>
            </a:r>
          </a:p>
          <a:p>
            <a:pPr lvl="4"/>
            <a:r>
              <a:rPr lang="en-US" sz="1100" b="1" dirty="0">
                <a:latin typeface="Segoe UI" panose="020B0502040204020203" pitchFamily="34" charset="0"/>
                <a:cs typeface="Segoe UI" panose="020B0502040204020203" pitchFamily="34" charset="0"/>
              </a:rPr>
              <a:t>If the table is not partitioned</a:t>
            </a:r>
            <a:r>
              <a:rPr lang="en-US" sz="1100" dirty="0">
                <a:latin typeface="Segoe UI" panose="020B0502040204020203" pitchFamily="34" charset="0"/>
                <a:cs typeface="Segoe UI" panose="020B0502040204020203" pitchFamily="34" charset="0"/>
              </a:rPr>
              <a:t>, lock escalation will be at the </a:t>
            </a:r>
            <a:r>
              <a:rPr lang="en-US" sz="1100" u="sng" dirty="0">
                <a:latin typeface="Segoe UI" panose="020B0502040204020203" pitchFamily="34" charset="0"/>
                <a:cs typeface="Segoe UI" panose="020B0502040204020203" pitchFamily="34" charset="0"/>
              </a:rPr>
              <a:t>Table level.</a:t>
            </a:r>
          </a:p>
          <a:p>
            <a:pPr lvl="1"/>
            <a:r>
              <a:rPr lang="en-US" sz="1100" b="1" dirty="0">
                <a:latin typeface="Segoe UI" panose="020B0502040204020203" pitchFamily="34" charset="0"/>
                <a:cs typeface="Segoe UI" panose="020B0502040204020203" pitchFamily="34" charset="0"/>
              </a:rPr>
              <a:t>TABLE</a:t>
            </a:r>
            <a:r>
              <a:rPr lang="en-US" sz="1100" dirty="0">
                <a:latin typeface="Segoe UI" panose="020B0502040204020203" pitchFamily="34" charset="0"/>
                <a:cs typeface="Segoe UI" panose="020B0502040204020203" pitchFamily="34" charset="0"/>
              </a:rPr>
              <a:t>: Lock escalation will be </a:t>
            </a:r>
            <a:r>
              <a:rPr lang="en-US" sz="1100" u="sng" dirty="0">
                <a:latin typeface="Segoe UI" panose="020B0502040204020203" pitchFamily="34" charset="0"/>
                <a:cs typeface="Segoe UI" panose="020B0502040204020203" pitchFamily="34" charset="0"/>
              </a:rPr>
              <a:t>done at table-level granularity </a:t>
            </a:r>
            <a:r>
              <a:rPr lang="en-US" sz="1100" dirty="0">
                <a:latin typeface="Segoe UI" panose="020B0502040204020203" pitchFamily="34" charset="0"/>
                <a:cs typeface="Segoe UI" panose="020B0502040204020203" pitchFamily="34" charset="0"/>
              </a:rPr>
              <a:t>regardless whether the table is partitioned or not partitioned. This behavior is the same as in SQL Server 2005. TABLE is the default value.</a:t>
            </a:r>
          </a:p>
          <a:p>
            <a:pPr lvl="1"/>
            <a:r>
              <a:rPr lang="en-US" sz="1100" b="1" dirty="0">
                <a:latin typeface="Segoe UI" panose="020B0502040204020203" pitchFamily="34" charset="0"/>
                <a:cs typeface="Segoe UI" panose="020B0502040204020203" pitchFamily="34" charset="0"/>
              </a:rPr>
              <a:t>DISABLE</a:t>
            </a:r>
            <a:r>
              <a:rPr lang="en-US" sz="1100" dirty="0">
                <a:latin typeface="Segoe UI" panose="020B0502040204020203" pitchFamily="34" charset="0"/>
                <a:cs typeface="Segoe UI" panose="020B0502040204020203" pitchFamily="34" charset="0"/>
              </a:rPr>
              <a:t>: </a:t>
            </a:r>
            <a:r>
              <a:rPr lang="en-US" sz="1100" i="1" dirty="0">
                <a:latin typeface="Segoe UI" panose="020B0502040204020203" pitchFamily="34" charset="0"/>
                <a:cs typeface="Segoe UI" panose="020B0502040204020203" pitchFamily="34" charset="0"/>
              </a:rPr>
              <a:t>Prevents lock escalation in most cases</a:t>
            </a:r>
            <a:r>
              <a:rPr lang="en-US" sz="1100" dirty="0">
                <a:latin typeface="Segoe UI" panose="020B0502040204020203" pitchFamily="34" charset="0"/>
                <a:cs typeface="Segoe UI" panose="020B0502040204020203" pitchFamily="34" charset="0"/>
              </a:rPr>
              <a:t>. </a:t>
            </a:r>
            <a:r>
              <a:rPr lang="en-US" sz="1100" b="1" dirty="0">
                <a:latin typeface="Segoe UI" panose="020B0502040204020203" pitchFamily="34" charset="0"/>
                <a:cs typeface="Segoe UI" panose="020B0502040204020203" pitchFamily="34" charset="0"/>
              </a:rPr>
              <a:t>Table-level locks are not completely disallowed</a:t>
            </a:r>
            <a:r>
              <a:rPr lang="en-US" sz="1100" dirty="0">
                <a:latin typeface="Segoe UI" panose="020B0502040204020203" pitchFamily="34" charset="0"/>
                <a:cs typeface="Segoe UI" panose="020B0502040204020203" pitchFamily="34" charset="0"/>
              </a:rPr>
              <a:t>. For example, when you are scanning a table that has no clustered index under the serializable isolation level, Database Engine must take a table lock to help protect data integrity.</a:t>
            </a:r>
          </a:p>
          <a:p>
            <a:endParaRPr lang="en-US" sz="1100" b="1"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Lock:Escalation Profiler event class </a:t>
            </a:r>
          </a:p>
          <a:p>
            <a:pPr lvl="1"/>
            <a:r>
              <a:rPr lang="en-US" sz="110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a:t>
            </a:r>
            <a:r>
              <a:rPr lang="en-US" sz="1100" u="sng" dirty="0">
                <a:latin typeface="Segoe UI" panose="020B0502040204020203" pitchFamily="34" charset="0"/>
                <a:cs typeface="Segoe UI" panose="020B0502040204020203" pitchFamily="34" charset="0"/>
              </a:rPr>
              <a:t>provides the reason for the lock escalation and the Type column provides the granularity details</a:t>
            </a:r>
            <a:r>
              <a:rPr lang="en-US" sz="1100" dirty="0">
                <a:latin typeface="Segoe UI" panose="020B0502040204020203" pitchFamily="34" charset="0"/>
                <a:cs typeface="Segoe UI" panose="020B0502040204020203" pitchFamily="34" charset="0"/>
              </a:rPr>
              <a:t>.</a:t>
            </a: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 Escalation, refer:  </a:t>
            </a:r>
          </a:p>
          <a:p>
            <a:r>
              <a:rPr lang="en-US" sz="1100" dirty="0">
                <a:hlinkClick r:id="rId3"/>
              </a:rPr>
              <a:t>https://docs.microsoft.com/en-us/previous-versions/sql/sql-server-2008-r2/ms184286(v=sql.105)?redirectedfrom=MSDN</a:t>
            </a:r>
            <a:endParaRPr lang="en-US" sz="1100" dirty="0">
              <a:latin typeface="Segoe UI" panose="020B0502040204020203" pitchFamily="34" charset="0"/>
              <a:cs typeface="Segoe UI" panose="020B0502040204020203" pitchFamily="34" charset="0"/>
            </a:endParaRPr>
          </a:p>
          <a:p>
            <a:r>
              <a:rPr lang="en-US" sz="1100" b="1" dirty="0">
                <a:latin typeface="Segoe UI" panose="020B0502040204020203" pitchFamily="34" charset="0"/>
                <a:cs typeface="Segoe UI" panose="020B0502040204020203" pitchFamily="34" charset="0"/>
              </a:rPr>
              <a:t>For more information </a:t>
            </a:r>
            <a:r>
              <a:rPr lang="en-US" sz="1100" dirty="0">
                <a:latin typeface="Segoe UI" panose="020B0502040204020203" pitchFamily="34" charset="0"/>
                <a:cs typeface="Segoe UI" panose="020B0502040204020203" pitchFamily="34" charset="0"/>
              </a:rPr>
              <a:t>on Lock:Escalation Event Class, refer:</a:t>
            </a:r>
            <a:br>
              <a:rPr lang="en-US" sz="1100" dirty="0">
                <a:latin typeface="Segoe UI" panose="020B0502040204020203" pitchFamily="34" charset="0"/>
                <a:cs typeface="Segoe UI" panose="020B0502040204020203" pitchFamily="34" charset="0"/>
              </a:rPr>
            </a:br>
            <a:r>
              <a:rPr lang="en-US" sz="1100" dirty="0">
                <a:hlinkClick r:id="rId4"/>
              </a:rPr>
              <a:t>https://docs.microsoft.com/en-us/sql/relational-databases/event-classes/lock-escalation-event-class?redirectedfrom=MSDN&amp;view=sql-server-ver15</a:t>
            </a:r>
            <a:endParaRPr lang="en-US" sz="1100" dirty="0"/>
          </a:p>
          <a:p>
            <a:endParaRPr lang="en-US" dirty="0"/>
          </a:p>
          <a:p>
            <a:endParaRPr lang="en-US" dirty="0"/>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dirty="0"/>
          </a:p>
        </p:txBody>
      </p:sp>
    </p:spTree>
    <p:extLst>
      <p:ext uri="{BB962C8B-B14F-4D97-AF65-F5344CB8AC3E}">
        <p14:creationId xmlns:p14="http://schemas.microsoft.com/office/powerpoint/2010/main" val="3879020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ock escalation behavior can be influenced by the trace flag -T1211. This disables the lock escalation for the instance. Enabling -T1211 does not prevent SQL Server from choosing page or table lock rather than row lock.</a:t>
            </a:r>
          </a:p>
          <a:p>
            <a:r>
              <a:rPr lang="en-US" sz="1050" dirty="0">
                <a:latin typeface="Segoe UI" panose="020B0502040204020203" pitchFamily="34" charset="0"/>
                <a:cs typeface="Segoe UI" panose="020B0502040204020203" pitchFamily="34" charset="0"/>
              </a:rPr>
              <a:t>Starting with SQL Server 2008, lock escalation can also be controlled using ALTER TABLE (T-SQL Syntax). </a:t>
            </a:r>
          </a:p>
          <a:p>
            <a:r>
              <a:rPr lang="en-US" sz="1050" dirty="0">
                <a:latin typeface="Segoe UI" panose="020B0502040204020203" pitchFamily="34" charset="0"/>
                <a:cs typeface="Segoe UI" panose="020B0502040204020203" pitchFamily="34" charset="0"/>
              </a:rPr>
              <a:t>In the ALTER TABLE (T-SQL Syntax), lock escalation can be set to specify the allowed methods of lock escalation for a table as follows: </a:t>
            </a:r>
          </a:p>
          <a:p>
            <a:r>
              <a:rPr lang="en-US" sz="1050" dirty="0">
                <a:latin typeface="Segoe UI" panose="020B0502040204020203" pitchFamily="34" charset="0"/>
                <a:cs typeface="Segoe UI" panose="020B0502040204020203" pitchFamily="34" charset="0"/>
              </a:rPr>
              <a:t>SET ( LOCK_ESCALATION = { AUTO | TABLE | DISABLE } ) </a:t>
            </a:r>
          </a:p>
          <a:p>
            <a:pPr lvl="1"/>
            <a:r>
              <a:rPr lang="en-US" sz="1050" dirty="0">
                <a:latin typeface="Segoe UI" panose="020B0502040204020203" pitchFamily="34" charset="0"/>
                <a:cs typeface="Segoe UI" panose="020B0502040204020203" pitchFamily="34" charset="0"/>
              </a:rPr>
              <a:t>AUTO</a:t>
            </a:r>
          </a:p>
          <a:p>
            <a:pPr lvl="2"/>
            <a:r>
              <a:rPr lang="en-US" sz="1050" dirty="0">
                <a:latin typeface="Segoe UI" panose="020B0502040204020203" pitchFamily="34" charset="0"/>
                <a:cs typeface="Segoe UI" panose="020B0502040204020203" pitchFamily="34" charset="0"/>
              </a:rPr>
              <a:t>This option enables SQL Server Database Engine to select the lock escalation granularity that is appropriate for the table schema. If the table is partitioned, lock escalation will be at the Partition level. If the table is not partitioned, lock escalation will be at the Table level.</a:t>
            </a:r>
          </a:p>
          <a:p>
            <a:pPr lvl="1"/>
            <a:r>
              <a:rPr lang="en-US" sz="1050" dirty="0">
                <a:latin typeface="Segoe UI" panose="020B0502040204020203" pitchFamily="34" charset="0"/>
                <a:cs typeface="Segoe UI" panose="020B0502040204020203" pitchFamily="34" charset="0"/>
              </a:rPr>
              <a:t>TABLE</a:t>
            </a:r>
          </a:p>
          <a:p>
            <a:pPr lvl="2"/>
            <a:r>
              <a:rPr lang="en-US" sz="1050" dirty="0">
                <a:latin typeface="Segoe UI" panose="020B0502040204020203" pitchFamily="34" charset="0"/>
                <a:cs typeface="Segoe UI" panose="020B0502040204020203" pitchFamily="34" charset="0"/>
              </a:rPr>
              <a:t>Lock escalation will be done at table-level granularity regardless whether the table is partitioned or not partitioned. This behavior is the same as in SQL Server 2005. TABLE is the default value.</a:t>
            </a:r>
          </a:p>
          <a:p>
            <a:pPr lvl="1"/>
            <a:r>
              <a:rPr lang="en-US" sz="1050" dirty="0">
                <a:latin typeface="Segoe UI" panose="020B0502040204020203" pitchFamily="34" charset="0"/>
                <a:cs typeface="Segoe UI" panose="020B0502040204020203" pitchFamily="34" charset="0"/>
              </a:rPr>
              <a:t>DISABLE</a:t>
            </a:r>
          </a:p>
          <a:p>
            <a:pPr lvl="2"/>
            <a:r>
              <a:rPr lang="en-US" sz="1050" dirty="0">
                <a:latin typeface="Segoe UI" panose="020B0502040204020203" pitchFamily="34" charset="0"/>
                <a:cs typeface="Segoe UI" panose="020B0502040204020203" pitchFamily="34" charset="0"/>
              </a:rPr>
              <a:t>Prevents lock escalation in most cases. Table-level locks are not completely disallowed. For example, when you are scanning a table that has no clustered index under the serializable isolation level, Database Engine must take a table lock to help protect data integrity.</a:t>
            </a:r>
          </a:p>
          <a:p>
            <a:r>
              <a:rPr lang="en-US" sz="1050" dirty="0">
                <a:latin typeface="Segoe UI" panose="020B0502040204020203" pitchFamily="34" charset="0"/>
                <a:cs typeface="Segoe UI" panose="020B0502040204020203" pitchFamily="34" charset="0"/>
              </a:rPr>
              <a:t>Lock:Escalation Profiler event class </a:t>
            </a:r>
          </a:p>
          <a:p>
            <a:pPr lvl="1"/>
            <a:r>
              <a:rPr lang="en-US" sz="1050" dirty="0">
                <a:latin typeface="Segoe UI" panose="020B0502040204020203" pitchFamily="34" charset="0"/>
                <a:cs typeface="Segoe UI" panose="020B0502040204020203" pitchFamily="34" charset="0"/>
              </a:rPr>
              <a:t>Starting in SQL Server 2008, the Lock:Escalation event class was enhanced to provide additional diagnostic information. The EventSubClass column provides the reason for the lock escalation and the Type column provides the granularity details.</a:t>
            </a: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 </a:t>
            </a:r>
            <a:r>
              <a:rPr lang="en-US" sz="1050" dirty="0">
                <a:latin typeface="Segoe UI" panose="020B0502040204020203" pitchFamily="34" charset="0"/>
                <a:cs typeface="Segoe UI" panose="020B0502040204020203" pitchFamily="34" charset="0"/>
              </a:rPr>
              <a:t>on Lock Escalation, refer:                           </a:t>
            </a:r>
            <a:r>
              <a:rPr lang="en-US" sz="1050" u="sng" dirty="0">
                <a:latin typeface="Segoe UI" panose="020B0502040204020203" pitchFamily="34" charset="0"/>
                <a:cs typeface="Segoe UI" panose="020B0502040204020203" pitchFamily="34" charset="0"/>
                <a:hlinkClick r:id="rId3"/>
              </a:rPr>
              <a:t>http://msdn.microsoft.com/en-us/library/ms184286.aspx</a:t>
            </a:r>
            <a:r>
              <a:rPr lang="en-US" sz="1050" dirty="0">
                <a:latin typeface="Segoe UI" panose="020B0502040204020203" pitchFamily="34" charset="0"/>
                <a:cs typeface="Segoe UI" panose="020B0502040204020203" pitchFamily="34" charset="0"/>
              </a:rPr>
              <a:t> </a:t>
            </a:r>
          </a:p>
          <a:p>
            <a:pPr marL="0" indent="0">
              <a:buNone/>
            </a:pPr>
            <a:r>
              <a:rPr lang="en-US" sz="1050" b="1" dirty="0">
                <a:latin typeface="Segoe UI" panose="020B0502040204020203" pitchFamily="34" charset="0"/>
                <a:cs typeface="Segoe UI" panose="020B0502040204020203" pitchFamily="34" charset="0"/>
              </a:rPr>
              <a:t>For more information </a:t>
            </a:r>
            <a:r>
              <a:rPr lang="en-US" sz="1050" dirty="0">
                <a:latin typeface="Segoe UI" panose="020B0502040204020203" pitchFamily="34" charset="0"/>
                <a:cs typeface="Segoe UI" panose="020B0502040204020203" pitchFamily="34" charset="0"/>
              </a:rPr>
              <a:t>on Lock:Escalation Event Class, refer:</a:t>
            </a:r>
            <a:br>
              <a:rPr lang="en-US" sz="1050" dirty="0">
                <a:latin typeface="Segoe UI" panose="020B0502040204020203" pitchFamily="34" charset="0"/>
                <a:cs typeface="Segoe UI" panose="020B0502040204020203" pitchFamily="34" charset="0"/>
              </a:rPr>
            </a:br>
            <a:r>
              <a:rPr lang="en-US" sz="1050" u="sng" dirty="0">
                <a:latin typeface="Segoe UI" panose="020B0502040204020203" pitchFamily="34" charset="0"/>
                <a:cs typeface="Segoe UI" panose="020B0502040204020203" pitchFamily="34" charset="0"/>
                <a:hlinkClick r:id="rId4"/>
              </a:rPr>
              <a:t>http://msdn.microsoft.com/en-us/library/ms190723.aspx</a:t>
            </a:r>
            <a:r>
              <a:rPr lang="en-US" sz="1050" u="sng" dirty="0">
                <a:latin typeface="Segoe UI" panose="020B0502040204020203" pitchFamily="34" charset="0"/>
                <a:cs typeface="Segoe UI" panose="020B0502040204020203" pitchFamily="34" charset="0"/>
              </a:rPr>
              <a:t> </a:t>
            </a:r>
            <a:endParaRPr lang="en-US" sz="1050" dirty="0">
              <a:latin typeface="Segoe UI" panose="020B0502040204020203" pitchFamily="34" charset="0"/>
              <a:cs typeface="Segoe UI" panose="020B0502040204020203" pitchFamily="34" charset="0"/>
            </a:endParaRPr>
          </a:p>
          <a:p>
            <a:endParaRPr lang="en-US" dirty="0"/>
          </a:p>
          <a:p>
            <a:endParaRPr lang="en-US" dirty="0"/>
          </a:p>
        </p:txBody>
      </p:sp>
      <p:sp>
        <p:nvSpPr>
          <p:cNvPr id="5" name="Rectangular Callout 4"/>
          <p:cNvSpPr/>
          <p:nvPr/>
        </p:nvSpPr>
        <p:spPr>
          <a:xfrm>
            <a:off x="7315200" y="4876800"/>
            <a:ext cx="3200400" cy="1219200"/>
          </a:xfrm>
          <a:prstGeom prst="wedgeRectCallout">
            <a:avLst>
              <a:gd name="adj1" fmla="val -73446"/>
              <a:gd name="adj2" fmla="val 9908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Text is overflowing. Please check.</a:t>
            </a:r>
          </a:p>
        </p:txBody>
      </p:sp>
    </p:spTree>
    <p:extLst>
      <p:ext uri="{BB962C8B-B14F-4D97-AF65-F5344CB8AC3E}">
        <p14:creationId xmlns:p14="http://schemas.microsoft.com/office/powerpoint/2010/main" val="2782385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anose="020B0502040204020203" pitchFamily="34" charset="0"/>
                <a:cs typeface="Segoe UI" panose="020B0502040204020203" pitchFamily="34" charset="0"/>
              </a:rPr>
              <a:t>Key Points</a:t>
            </a:r>
            <a:r>
              <a:rPr lang="en-US" dirty="0">
                <a:latin typeface="Segoe UI" panose="020B0502040204020203" pitchFamily="34" charset="0"/>
                <a:cs typeface="Segoe UI" panose="020B0502040204020203" pitchFamily="34" charset="0"/>
              </a:rPr>
              <a:t>:</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Locking hints can be specified for individual table references in the SELECT, INSERT, UPDATE, and DELETE statements.</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he hints specify the type of locking or row versioning the instance of the SQL Server Database Engine uses for the table data.</a:t>
            </a:r>
          </a:p>
          <a:p>
            <a:pPr marL="228600" indent="-228600">
              <a:buFont typeface="+mj-lt"/>
              <a:buAutoNum type="arabicPeriod"/>
            </a:pPr>
            <a:r>
              <a:rPr lang="en-US" sz="800" b="0" i="0" kern="1200" dirty="0">
                <a:solidFill>
                  <a:schemeClr val="tx1"/>
                </a:solidFill>
                <a:effectLst/>
                <a:latin typeface="Segoe UI Light" pitchFamily="34" charset="0"/>
                <a:ea typeface="+mn-ea"/>
                <a:cs typeface="+mn-cs"/>
              </a:rPr>
              <a:t>Table-level locking hints can be used when a finer control of the types of locks acquired on an object is required. These locking hints override the current transaction isolation level for the session.</a:t>
            </a:r>
          </a:p>
          <a:p>
            <a:pPr marL="228600" indent="-228600">
              <a:buAutoNum type="arabicPeriod" startAt="4"/>
            </a:pPr>
            <a:r>
              <a:rPr lang="en-US" dirty="0">
                <a:latin typeface="Segoe UI" panose="020B0502040204020203" pitchFamily="34" charset="0"/>
                <a:cs typeface="Segoe UI" panose="020B0502040204020203" pitchFamily="34" charset="0"/>
              </a:rPr>
              <a:t>Hints take away the ability of SQL Server to adjust its behavior based on changing conditions on the server and thus, must be used sparingly and only when absolutely necessary.</a:t>
            </a:r>
          </a:p>
          <a:p>
            <a:pPr marL="228600" indent="-228600">
              <a:buAutoNum type="arabicPeriod" startAt="4"/>
            </a:pPr>
            <a:r>
              <a:rPr lang="en-US" dirty="0">
                <a:latin typeface="Segoe UI" panose="020B0502040204020203" pitchFamily="34" charset="0"/>
                <a:cs typeface="Segoe UI" panose="020B0502040204020203" pitchFamily="34" charset="0"/>
              </a:rPr>
              <a:t> Queries that use hints must be monitored closely and tested periodically to verify that the hint is still required and is behaving as intended.</a:t>
            </a:r>
          </a:p>
          <a:p>
            <a:pPr marL="0" indent="0">
              <a:buNone/>
            </a:pPr>
            <a:r>
              <a:rPr lang="en-US" b="1" dirty="0">
                <a:latin typeface="Segoe UI" panose="020B0502040204020203" pitchFamily="34" charset="0"/>
                <a:cs typeface="Segoe UI" panose="020B0502040204020203" pitchFamily="34" charset="0"/>
              </a:rPr>
              <a:t>Syntax</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WITH ( &lt;table_hint&gt; [ [, ]...n ] )</a:t>
            </a:r>
            <a:r>
              <a:rPr lang="en-US" sz="800" b="0" i="0" kern="1200" dirty="0">
                <a:solidFill>
                  <a:schemeClr val="tx1"/>
                </a:solidFill>
                <a:effectLst/>
                <a:latin typeface="Segoe UI Light" pitchFamily="34" charset="0"/>
                <a:ea typeface="+mn-ea"/>
                <a:cs typeface="+mn-cs"/>
              </a:rPr>
              <a:t> </a:t>
            </a:r>
          </a:p>
          <a:p>
            <a:pPr marL="0" indent="0">
              <a:buNone/>
            </a:pPr>
            <a:r>
              <a:rPr lang="en-US" b="1" dirty="0">
                <a:latin typeface="Segoe UI" panose="020B0502040204020203" pitchFamily="34" charset="0"/>
                <a:cs typeface="Segoe UI" panose="020B0502040204020203" pitchFamily="34" charset="0"/>
              </a:rPr>
              <a:t>Example</a:t>
            </a:r>
            <a:r>
              <a:rPr lang="en-US" dirty="0">
                <a:latin typeface="Segoe UI" panose="020B0502040204020203" pitchFamily="34" charset="0"/>
                <a:cs typeface="Segoe UI" panose="020B0502040204020203" pitchFamily="34" charset="0"/>
              </a:rPr>
              <a:t> : </a:t>
            </a:r>
            <a:r>
              <a:rPr lang="en-US" sz="800" b="0" i="0" kern="1200" dirty="0">
                <a:solidFill>
                  <a:schemeClr val="tx1"/>
                </a:solidFill>
                <a:effectLst/>
                <a:latin typeface="Consolas" panose="020B0609020204030204" pitchFamily="49" charset="0"/>
                <a:ea typeface="+mn-ea"/>
                <a:cs typeface="+mn-cs"/>
              </a:rPr>
              <a:t>SELECT StartDate, ComponentID FROM Production.BillOfMaterials </a:t>
            </a:r>
            <a:r>
              <a:rPr lang="en-US" sz="800" b="1" i="0" kern="1200" dirty="0">
                <a:solidFill>
                  <a:schemeClr val="tx1"/>
                </a:solidFill>
                <a:effectLst/>
                <a:latin typeface="Consolas" panose="020B0609020204030204" pitchFamily="49" charset="0"/>
                <a:ea typeface="+mn-ea"/>
                <a:cs typeface="+mn-cs"/>
              </a:rPr>
              <a:t>WITH( INDEX (FIBillOfMaterialsWithComponentID</a:t>
            </a:r>
            <a:r>
              <a:rPr lang="en-US" sz="800" b="0" i="0" kern="1200" dirty="0">
                <a:solidFill>
                  <a:schemeClr val="tx1"/>
                </a:solidFill>
                <a:effectLst/>
                <a:latin typeface="Consolas" panose="020B0609020204030204" pitchFamily="49" charset="0"/>
                <a:ea typeface="+mn-ea"/>
                <a:cs typeface="+mn-cs"/>
              </a:rPr>
              <a:t>) )</a:t>
            </a:r>
            <a:r>
              <a:rPr lang="en-US" sz="800" b="0" i="0" kern="1200" dirty="0">
                <a:solidFill>
                  <a:schemeClr val="tx1"/>
                </a:solidFill>
                <a:effectLst/>
                <a:latin typeface="Segoe UI Light" pitchFamily="34" charset="0"/>
                <a:ea typeface="+mn-ea"/>
                <a:cs typeface="+mn-cs"/>
              </a:rPr>
              <a:t> </a:t>
            </a:r>
          </a:p>
          <a:p>
            <a:pPr marL="0" indent="0">
              <a:buNone/>
            </a:pPr>
            <a:endParaRPr lang="en-US" sz="800" b="0" i="0" kern="1200" dirty="0">
              <a:solidFill>
                <a:schemeClr val="tx1"/>
              </a:solidFill>
              <a:effectLst/>
              <a:latin typeface="Segoe UI Light" pitchFamily="34" charset="0"/>
              <a:ea typeface="+mn-ea"/>
              <a:cs typeface="+mn-cs"/>
            </a:endParaRPr>
          </a:p>
          <a:p>
            <a:pPr marL="0" indent="0">
              <a:buNone/>
            </a:pPr>
            <a:r>
              <a:rPr lang="en-US" sz="800" b="1" i="0" kern="1200" dirty="0">
                <a:solidFill>
                  <a:schemeClr val="tx1"/>
                </a:solidFill>
                <a:effectLst/>
                <a:latin typeface="Segoe UI Light" pitchFamily="34" charset="0"/>
                <a:ea typeface="+mn-ea"/>
                <a:cs typeface="+mn-cs"/>
              </a:rPr>
              <a:t>Note</a:t>
            </a:r>
            <a:r>
              <a:rPr lang="en-US" sz="800" b="0" i="0" kern="1200" dirty="0">
                <a:solidFill>
                  <a:schemeClr val="tx1"/>
                </a:solidFill>
                <a:effectLst/>
                <a:latin typeface="Segoe UI Light" pitchFamily="34" charset="0"/>
                <a:ea typeface="+mn-ea"/>
                <a:cs typeface="+mn-cs"/>
              </a:rPr>
              <a:t>: The following table hints are allowed with and without the WITH keyword: NOLOCK, READUNCOMMITTED, UPDLOCK, REPEATABLEREAD, SERIALIZABLE, READCOMMITTED, TABLOCK, TABLOCKX, PAGLOCK, ROWLOCK, NOWAIT, READPAST, XLOCK, SNAPSHOT, and NOEXPAND. </a:t>
            </a:r>
            <a:r>
              <a:rPr lang="en-US" sz="800" b="1" i="0" kern="1200" dirty="0">
                <a:solidFill>
                  <a:schemeClr val="tx1"/>
                </a:solidFill>
                <a:effectLst/>
                <a:latin typeface="Segoe UI Light" pitchFamily="34" charset="0"/>
                <a:ea typeface="+mn-ea"/>
                <a:cs typeface="+mn-cs"/>
              </a:rPr>
              <a:t>Omitting the WITH keyword is a deprecated feature</a:t>
            </a:r>
            <a:r>
              <a:rPr lang="en-US" sz="800" b="0" i="0" kern="1200" dirty="0">
                <a:solidFill>
                  <a:schemeClr val="tx1"/>
                </a:solidFill>
                <a:effectLst/>
                <a:latin typeface="Segoe UI Light" pitchFamily="34" charset="0"/>
                <a:ea typeface="+mn-ea"/>
                <a:cs typeface="+mn-cs"/>
              </a:rPr>
              <a:t>.</a:t>
            </a:r>
          </a:p>
          <a:p>
            <a:pPr marL="0" indent="0">
              <a:buNone/>
            </a:pPr>
            <a:r>
              <a:rPr lang="en-US" dirty="0">
                <a:latin typeface="Segoe UI" panose="020B0502040204020203" pitchFamily="34" charset="0"/>
                <a:cs typeface="Segoe UI" panose="020B0502040204020203" pitchFamily="34" charset="0"/>
              </a:rPr>
              <a:t>Example </a:t>
            </a:r>
            <a:r>
              <a:rPr lang="en-US" b="1" dirty="0">
                <a:latin typeface="Segoe UI" panose="020B0502040204020203" pitchFamily="34" charset="0"/>
                <a:cs typeface="Segoe UI" panose="020B0502040204020203" pitchFamily="34" charset="0"/>
              </a:rPr>
              <a:t>: </a:t>
            </a:r>
            <a:r>
              <a:rPr lang="en-US" sz="800" b="1" i="0" kern="1200" dirty="0">
                <a:solidFill>
                  <a:schemeClr val="tx1"/>
                </a:solidFill>
                <a:effectLst/>
                <a:latin typeface="Consolas" panose="020B0609020204030204" pitchFamily="49" charset="0"/>
                <a:ea typeface="+mn-ea"/>
                <a:cs typeface="+mn-cs"/>
              </a:rPr>
              <a:t>FROM t (TABLOCK)</a:t>
            </a:r>
            <a:r>
              <a:rPr lang="en-US" sz="800" b="1" i="0" kern="1200" dirty="0">
                <a:solidFill>
                  <a:schemeClr val="tx1"/>
                </a:solidFill>
                <a:effectLst/>
                <a:latin typeface="Segoe UI Light" pitchFamily="34" charset="0"/>
                <a:ea typeface="+mn-ea"/>
                <a:cs typeface="+mn-cs"/>
              </a:rPr>
              <a:t> </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None/>
            </a:pPr>
            <a:endParaRPr lang="en-US" b="1"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All lock hints are propagated to all the tables and views that are accessed by the query plan, including tables and views referenced in a view. Also, SQL Server performs the corresponding lock consistency checks.</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Lock hints like ROWLOCK, UPDLOCK, AND XLOCK that acquire row-level locks, might place locks on index keys rather than the actual data rows. For example, if a table has a non-clustered index and a SELECT statement using a lock hint is handled by a covering index, a lock is acquired on the index key in the covering index rather than on the data row in the base table.</a:t>
            </a:r>
            <a:endParaRPr lang="en-US" dirty="0">
              <a:latin typeface="Segoe UI" panose="020B0502040204020203" pitchFamily="34" charset="0"/>
              <a:cs typeface="Segoe UI" panose="020B0502040204020203" pitchFamily="34" charset="0"/>
            </a:endParaRPr>
          </a:p>
          <a:p>
            <a:r>
              <a:rPr lang="en-GB" dirty="0">
                <a:latin typeface="Segoe UI" panose="020B0502040204020203" pitchFamily="34" charset="0"/>
                <a:cs typeface="Segoe UI" panose="020B0502040204020203" pitchFamily="34" charset="0"/>
              </a:rPr>
              <a:t>If a table contains computed columns that are computed by expressions or functions accessing columns in other tables, the table hints are not used on those tables and are not propagated. For example, a NOLOCK table hint is specified on a table in the query. This table has computed columns that are computed by a combination of expressions and functions that access columns in another table. The tables referenced by the expressions and functions do not use the NOLOCK table hint when accessed.</a:t>
            </a:r>
          </a:p>
          <a:p>
            <a:r>
              <a:rPr lang="en-GB" dirty="0">
                <a:latin typeface="Segoe UI" panose="020B0502040204020203" pitchFamily="34" charset="0"/>
                <a:cs typeface="Segoe UI" panose="020B0502040204020203" pitchFamily="34" charset="0"/>
              </a:rPr>
              <a:t>References : </a:t>
            </a:r>
            <a:r>
              <a:rPr lang="en-US" dirty="0">
                <a:hlinkClick r:id="rId3"/>
              </a:rPr>
              <a:t>https://docs.microsoft.com/en-us/sql/t-sql/queries/hints-transact-sql-table?view=sql-server-ver15</a:t>
            </a:r>
            <a:endParaRPr lang="en-US" dirty="0"/>
          </a:p>
          <a:p>
            <a:endParaRPr lang="en-US" dirty="0">
              <a:latin typeface="Segoe UI" panose="020B0502040204020203" pitchFamily="34" charset="0"/>
              <a:cs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dirty="0"/>
          </a:p>
        </p:txBody>
      </p:sp>
    </p:spTree>
    <p:extLst>
      <p:ext uri="{BB962C8B-B14F-4D97-AF65-F5344CB8AC3E}">
        <p14:creationId xmlns:p14="http://schemas.microsoft.com/office/powerpoint/2010/main" val="32984138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M04L03Demo01</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4L03Demo01\Multigranular_Locking.sql</a:t>
            </a:r>
            <a:endParaRPr lang="en-US" i="1" dirty="0">
              <a:latin typeface="Segoe UI" panose="020B0502040204020203" pitchFamily="34" charset="0"/>
              <a:cs typeface="Segoe UI" panose="020B0502040204020203"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1" dirty="0">
                <a:cs typeface="Segoe UI Light" panose="020B0502040204020203" pitchFamily="34" charset="0"/>
              </a:rPr>
              <a:t>Q1: What is a Lock?</a:t>
            </a:r>
            <a:endParaRPr lang="en-US" sz="1600" b="1"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kern="1200" baseline="0" dirty="0">
                <a:solidFill>
                  <a:schemeClr val="tx1"/>
                </a:solidFill>
                <a:latin typeface="+mn-lt"/>
                <a:ea typeface="+mn-ea"/>
                <a:cs typeface="Segoe UI Light" panose="020B0502040204020203" pitchFamily="34" charset="0"/>
              </a:rPr>
              <a:t>A1: </a:t>
            </a:r>
            <a:r>
              <a:rPr lang="en-US" sz="1600" kern="1200" baseline="0" dirty="0">
                <a:solidFill>
                  <a:schemeClr val="tx1"/>
                </a:solidFill>
                <a:latin typeface="+mn-lt"/>
                <a:ea typeface="+mn-ea"/>
                <a:cs typeface="Segoe UI Light" panose="020B0502040204020203" pitchFamily="34" charset="0"/>
              </a:rPr>
              <a:t>lock is an in-memory structure </a:t>
            </a:r>
          </a:p>
          <a:p>
            <a:pPr marL="0" indent="0">
              <a:buFont typeface="Arial" panose="020B0604020202020204" pitchFamily="34" charset="0"/>
              <a:buNone/>
            </a:pPr>
            <a:endParaRPr lang="en-US" sz="1600" kern="1200" baseline="0" dirty="0">
              <a:solidFill>
                <a:schemeClr val="tx1"/>
              </a:solidFill>
              <a:latin typeface="+mn-lt"/>
              <a:ea typeface="+mn-ea"/>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2: Why is an intent lock acquired?</a:t>
            </a:r>
          </a:p>
          <a:p>
            <a:pPr marL="0" indent="0">
              <a:buFont typeface="Arial" panose="020B0604020202020204" pitchFamily="34" charset="0"/>
              <a:buNone/>
            </a:pPr>
            <a:r>
              <a:rPr lang="en-US" sz="1600" dirty="0">
                <a:cs typeface="Segoe UI Light" panose="020B0502040204020203" pitchFamily="34" charset="0"/>
              </a:rPr>
              <a:t>A2: An intent locks is used to establish a lock hierarchy. It indicates that SQL Server wants to acquire an S or X lock on some of the resources, lower down in the hierarchy.</a:t>
            </a:r>
          </a:p>
          <a:p>
            <a:pPr marL="0" indent="0">
              <a:buFont typeface="Arial" panose="020B0604020202020204" pitchFamily="34" charset="0"/>
              <a:buNone/>
            </a:pPr>
            <a:endParaRPr lang="en-US" sz="1600" b="1"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3: What is lock escalation and can it be controlled?</a:t>
            </a:r>
          </a:p>
          <a:p>
            <a:pPr marL="0" indent="0">
              <a:buFont typeface="Arial" panose="020B0604020202020204" pitchFamily="34" charset="0"/>
              <a:buNone/>
            </a:pPr>
            <a:r>
              <a:rPr lang="en-US" sz="1600" dirty="0">
                <a:cs typeface="Segoe UI Light" panose="020B0502040204020203" pitchFamily="34" charset="0"/>
              </a:rPr>
              <a:t>A3: </a:t>
            </a:r>
          </a:p>
          <a:p>
            <a:pPr marL="0" indent="0">
              <a:buFont typeface="Arial" panose="020B0604020202020204" pitchFamily="34" charset="0"/>
              <a:buNone/>
            </a:pPr>
            <a:r>
              <a:rPr lang="en-US" sz="1600" dirty="0">
                <a:cs typeface="Segoe UI Light" panose="020B0502040204020203" pitchFamily="34" charset="0"/>
              </a:rPr>
              <a:t>Lock manager of SQL Server automatically tries to escalate a lock when the lock count for a transaction is higher than the escalation threshold.</a:t>
            </a:r>
          </a:p>
          <a:p>
            <a:pPr marL="0" indent="0">
              <a:buFont typeface="Arial" panose="020B0604020202020204" pitchFamily="34" charset="0"/>
              <a:buNone/>
            </a:pPr>
            <a:r>
              <a:rPr lang="en-US" sz="1600" dirty="0">
                <a:cs typeface="Segoe UI Light" panose="020B0502040204020203" pitchFamily="34" charset="0"/>
              </a:rPr>
              <a:t>Since SQL Server 2008, lock escalation </a:t>
            </a:r>
            <a:r>
              <a:rPr lang="en-US" sz="1600" b="1" dirty="0">
                <a:cs typeface="Segoe UI Light" panose="020B0502040204020203" pitchFamily="34" charset="0"/>
              </a:rPr>
              <a:t>can be controlled at table level </a:t>
            </a:r>
            <a:r>
              <a:rPr lang="en-US" sz="1600" dirty="0">
                <a:cs typeface="Segoe UI Light" panose="020B0502040204020203" pitchFamily="34" charset="0"/>
              </a:rPr>
              <a:t>using ALTER TABLE command and Server level Using TF1211 – </a:t>
            </a:r>
            <a:r>
              <a:rPr lang="en-US" sz="1600" b="1" i="0" kern="1200" baseline="0" dirty="0">
                <a:solidFill>
                  <a:schemeClr val="tx1"/>
                </a:solidFill>
                <a:effectLst/>
                <a:latin typeface="+mn-lt"/>
                <a:ea typeface="+mn-ea"/>
                <a:cs typeface="+mn-cs"/>
              </a:rPr>
              <a:t>Disables lock escalation based on memory pressure, or based on number of locks</a:t>
            </a:r>
            <a:r>
              <a:rPr lang="en-US" sz="1600" b="0" i="0" kern="1200" baseline="0" dirty="0">
                <a:solidFill>
                  <a:schemeClr val="tx1"/>
                </a:solidFill>
                <a:effectLst/>
                <a:latin typeface="+mn-lt"/>
                <a:ea typeface="+mn-ea"/>
                <a:cs typeface="+mn-cs"/>
              </a:rPr>
              <a:t>.</a:t>
            </a:r>
          </a:p>
          <a:p>
            <a:pPr marL="0" indent="0">
              <a:buFont typeface="Arial" panose="020B0604020202020204" pitchFamily="34" charset="0"/>
              <a:buNone/>
            </a:pPr>
            <a:endParaRPr lang="en-US" sz="1600" dirty="0">
              <a:cs typeface="Segoe UI Light" panose="020B0502040204020203" pitchFamily="34" charset="0"/>
            </a:endParaRPr>
          </a:p>
          <a:p>
            <a:pPr marL="0" indent="0">
              <a:buFont typeface="Arial" panose="020B0604020202020204" pitchFamily="34" charset="0"/>
              <a:buNone/>
            </a:pPr>
            <a:r>
              <a:rPr lang="en-US" sz="1600" b="1" dirty="0">
                <a:cs typeface="Segoe UI Light" panose="020B0502040204020203" pitchFamily="34" charset="0"/>
              </a:rPr>
              <a:t>Q4: What are locking hints?</a:t>
            </a:r>
          </a:p>
          <a:p>
            <a:pPr marL="0" indent="0">
              <a:buFont typeface="Arial" panose="020B0604020202020204" pitchFamily="34" charset="0"/>
              <a:buNone/>
            </a:pPr>
            <a:r>
              <a:rPr lang="en-US" sz="1600" b="1" dirty="0">
                <a:cs typeface="Segoe UI Light" panose="020B0502040204020203" pitchFamily="34" charset="0"/>
              </a:rPr>
              <a:t>A4: </a:t>
            </a:r>
            <a:r>
              <a:rPr lang="en-US" sz="1600" dirty="0">
                <a:cs typeface="Segoe UI Light" panose="020B0502040204020203" pitchFamily="34" charset="0"/>
              </a:rPr>
              <a:t>Locking hints can be used to override the default locking behavior of the current transaction.</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r>
              <a:rPr lang="en-US" dirty="0"/>
              <a:t>Fully durable transaction commits are synchronous and report a COMMIT as successful and return control to the client only after the log records for the transaction are written to disk. Delayed durable transaction commits are asynchronous and report a COMMIT as successful before the log records for the transaction are written to disk. Hardening transaction log entries to disk is required for a transaction to be durable. Delayed durable transactions become durable when the transaction log entries are flushed to disk.</a:t>
            </a:r>
          </a:p>
          <a:p>
            <a:endParaRPr lang="en-US" dirty="0"/>
          </a:p>
          <a:p>
            <a:r>
              <a:rPr lang="en-US" dirty="0"/>
              <a:t>After a durable transaction commit succeeds, the changes made by the transaction are visible to the other transactions in the system. Durability is guaranteed on commit. Corresponding log records are persisted to disk before the transaction commit succeeds and returns control to the client. </a:t>
            </a:r>
          </a:p>
          <a:p>
            <a:endParaRPr lang="en-US" dirty="0"/>
          </a:p>
          <a:p>
            <a:r>
              <a:rPr lang="en-US" dirty="0"/>
              <a:t>Delayed transaction durability is accomplished using asynchronous log writes to disk. Transaction log records are kept in a buffer and hardened to disk when the buffer fills or a buffer flushing event takes place. </a:t>
            </a:r>
          </a:p>
          <a:p>
            <a:endParaRPr lang="en-US" dirty="0"/>
          </a:p>
          <a:p>
            <a:r>
              <a:rPr lang="en-US" dirty="0"/>
              <a:t>Delayed transaction durability reduces both latency and contention within the system because:</a:t>
            </a:r>
          </a:p>
          <a:p>
            <a:pPr marL="171450" indent="-171450">
              <a:buFont typeface="Arial" panose="020B0604020202020204" pitchFamily="34" charset="0"/>
              <a:buChar char="•"/>
            </a:pPr>
            <a:r>
              <a:rPr lang="en-US" dirty="0"/>
              <a:t>The transaction commit processing does not wait for log I/O to finish and return control to the client.</a:t>
            </a:r>
          </a:p>
          <a:p>
            <a:pPr marL="171450" indent="-171450">
              <a:buFont typeface="Arial" panose="020B0604020202020204" pitchFamily="34" charset="0"/>
              <a:buChar char="•"/>
            </a:pPr>
            <a:r>
              <a:rPr lang="en-US" dirty="0"/>
              <a:t>Concurrent transactions are less likely to contend for log I/O; instead, the log buffer can be flushed to disk in larger chunks, reducing contention, and increasing throughput.</a:t>
            </a:r>
          </a:p>
          <a:p>
            <a:endParaRPr lang="en-US" dirty="0"/>
          </a:p>
          <a:p>
            <a:r>
              <a:rPr lang="en-US" sz="882" kern="1200" baseline="0" dirty="0">
                <a:solidFill>
                  <a:schemeClr val="tx1"/>
                </a:solidFill>
                <a:effectLst/>
                <a:latin typeface="+mn-lt"/>
                <a:ea typeface="+mn-ea"/>
                <a:cs typeface="+mn-cs"/>
              </a:rPr>
              <a:t>Delayed transaction durability</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control-transaction-durability?view=sql-server-ver15#delayed-transaction-durability</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10029411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Some of the cases in which you could benefit from using delayed transaction durability are:</a:t>
            </a:r>
          </a:p>
          <a:p>
            <a:r>
              <a:rPr lang="en-US" sz="882" b="1" i="0" kern="1200" baseline="0" dirty="0">
                <a:solidFill>
                  <a:schemeClr val="tx1"/>
                </a:solidFill>
                <a:effectLst/>
                <a:latin typeface="+mn-lt"/>
                <a:ea typeface="+mn-ea"/>
                <a:cs typeface="+mn-cs"/>
              </a:rPr>
              <a:t>You can tolerate some data los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 can tolerate some data loss, for example, where individual records are not critical as long as you have most of the data, then delayed durability may be worth considering. If you cannot tolerate any data loss, do not use delayed transaction durability.</a:t>
            </a:r>
          </a:p>
          <a:p>
            <a:r>
              <a:rPr lang="en-US" sz="882" b="1" i="0" kern="1200" baseline="0" dirty="0">
                <a:solidFill>
                  <a:schemeClr val="tx1"/>
                </a:solidFill>
                <a:effectLst/>
                <a:latin typeface="+mn-lt"/>
                <a:ea typeface="+mn-ea"/>
                <a:cs typeface="+mn-cs"/>
              </a:rPr>
              <a:t>You are experiencing a bottleneck on transaction log write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r performance issues are due to latency in transaction log writes, your application will likely benefit from using delayed transaction durability.</a:t>
            </a:r>
          </a:p>
          <a:p>
            <a:r>
              <a:rPr lang="en-US" sz="882" b="1" i="0" kern="1200" baseline="0" dirty="0">
                <a:solidFill>
                  <a:schemeClr val="tx1"/>
                </a:solidFill>
                <a:effectLst/>
                <a:latin typeface="+mn-lt"/>
                <a:ea typeface="+mn-ea"/>
                <a:cs typeface="+mn-cs"/>
              </a:rPr>
              <a:t>Your workloads have a high contention ra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your system has workloads with a high contention level much time is lost waiting for locks to be released. Delayed transaction durability reduces commit time and thus releases locks faster which results in higher throughput.</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9046138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Data loss possibility:</a:t>
            </a:r>
            <a:br>
              <a:rPr lang="en-US" dirty="0"/>
            </a:br>
            <a:r>
              <a:rPr lang="en-US" dirty="0"/>
              <a:t>if the server goes down between the time a transaction is committed and its log record if flushed</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15299037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 scenario where an Insert/Update/Delete operation is being performed on a Microsoft SQL Server table. How does SQL Server log this information in the transaction logs and later use it for recovery purposes? In this slide, we talk about the high-level overview of the operations (logging-related), which happen when a record is inserted/deleted/updated in a table.</a:t>
            </a:r>
          </a:p>
          <a:p>
            <a:pPr lvl="1"/>
            <a:r>
              <a:rPr lang="en-US" dirty="0"/>
              <a:t>Mark the begin of the transaction in the Log Buffer (60 KB).</a:t>
            </a:r>
          </a:p>
          <a:p>
            <a:pPr lvl="1"/>
            <a:r>
              <a:rPr lang="en-US" dirty="0"/>
              <a:t>Log details about the nature of the transaction in the Log Buffer.</a:t>
            </a:r>
          </a:p>
          <a:p>
            <a:pPr lvl="1"/>
            <a:r>
              <a:rPr lang="en-US" dirty="0"/>
              <a:t>Read the Page from the Disk, where the operation needs to be performed (Page Latch/Locking).</a:t>
            </a:r>
          </a:p>
          <a:p>
            <a:pPr lvl="1"/>
            <a:r>
              <a:rPr lang="en-US" dirty="0"/>
              <a:t>Perform the modification (Page marked Dirty**/Latching/Locking).</a:t>
            </a:r>
          </a:p>
          <a:p>
            <a:pPr lvl="1"/>
            <a:r>
              <a:rPr lang="en-US" dirty="0"/>
              <a:t>Commit the transaction and report the acknowledgement to the user.</a:t>
            </a:r>
          </a:p>
          <a:p>
            <a:pPr lvl="1"/>
            <a:r>
              <a:rPr lang="en-US" dirty="0"/>
              <a:t>After commit, flush the log buffer to the LDF file (Log buffer could also be flushed if it is full, without having to wait for the commit) as an Asynchronous process. </a:t>
            </a:r>
          </a:p>
          <a:p>
            <a:r>
              <a:rPr lang="en-US" dirty="0"/>
              <a:t>There are chances of data loss in case the database goes down before a checkpoint has been fired.</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42786907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Delayed durability and other SQL Server feature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hange tracking and change data captur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All transactions with change tracking are fully durable. A transaction has the change tracking property if it does any write operations to tables that are enabled for change tracking. </a:t>
            </a:r>
            <a:r>
              <a:rPr lang="en-US" sz="882" b="1" i="0" kern="1200" baseline="0" dirty="0">
                <a:solidFill>
                  <a:schemeClr val="tx1"/>
                </a:solidFill>
                <a:effectLst/>
                <a:latin typeface="+mn-lt"/>
                <a:ea typeface="+mn-ea"/>
                <a:cs typeface="+mn-cs"/>
              </a:rPr>
              <a:t>The use of delayed durability is not supported for databases which use change data capture (CDC).</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rash recovery</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Consistency is guaranteed, but </a:t>
            </a:r>
            <a:r>
              <a:rPr lang="en-US" sz="882" b="1" i="0" kern="1200" baseline="0" dirty="0">
                <a:solidFill>
                  <a:schemeClr val="tx1"/>
                </a:solidFill>
                <a:effectLst/>
                <a:latin typeface="+mn-lt"/>
                <a:ea typeface="+mn-ea"/>
                <a:cs typeface="+mn-cs"/>
              </a:rPr>
              <a:t>some changes from delayed durable transactions that have committed may be los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ross-database and DT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a transaction is cross-database or distributed, it is </a:t>
            </a:r>
            <a:r>
              <a:rPr lang="en-US" sz="882" b="1" i="0" kern="1200" baseline="0" dirty="0">
                <a:solidFill>
                  <a:schemeClr val="tx1"/>
                </a:solidFill>
                <a:effectLst/>
                <a:latin typeface="+mn-lt"/>
                <a:ea typeface="+mn-ea"/>
                <a:cs typeface="+mn-cs"/>
              </a:rPr>
              <a:t>fully durable, regardless of any database or transaction commit setting</a:t>
            </a:r>
            <a:r>
              <a:rPr lang="en-US" sz="882" b="0" i="0" kern="1200" baseline="0" dirty="0">
                <a:solidFill>
                  <a:schemeClr val="tx1"/>
                </a:solidFill>
                <a:effectLst/>
                <a:latin typeface="+mn-lt"/>
                <a:ea typeface="+mn-ea"/>
                <a:cs typeface="+mn-cs"/>
              </a:rPr>
              <a:t>.</a:t>
            </a:r>
          </a:p>
          <a:p>
            <a:pPr marL="171450" lvl="0" indent="-171450">
              <a:buFont typeface="Arial" panose="020B0604020202020204" pitchFamily="34" charset="0"/>
              <a:buChar char="•"/>
            </a:pPr>
            <a:r>
              <a:rPr lang="en-US" sz="882" b="1" i="0" kern="1200" baseline="0" dirty="0">
                <a:solidFill>
                  <a:schemeClr val="tx1"/>
                </a:solidFill>
                <a:effectLst/>
                <a:latin typeface="+mn-lt"/>
                <a:ea typeface="+mn-ea"/>
                <a:cs typeface="+mn-cs"/>
              </a:rPr>
              <a:t>Always On Availability Groups and Mirroring</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Delayed durable transactions do not guarantee any durability on either the primary or any of the secondaries</a:t>
            </a:r>
            <a:r>
              <a:rPr lang="en-US" sz="882" b="0" i="0" kern="1200" baseline="0" dirty="0">
                <a:solidFill>
                  <a:schemeClr val="tx1"/>
                </a:solidFill>
                <a:effectLst/>
                <a:latin typeface="+mn-lt"/>
                <a:ea typeface="+mn-ea"/>
                <a:cs typeface="+mn-cs"/>
              </a:rPr>
              <a:t>. In addition, they do not guarantee any knowledge about the transaction at the secondary. </a:t>
            </a:r>
            <a:r>
              <a:rPr lang="en-US" sz="882" b="1" i="0" kern="1200" baseline="0" dirty="0">
                <a:solidFill>
                  <a:schemeClr val="tx1"/>
                </a:solidFill>
                <a:effectLst/>
                <a:latin typeface="+mn-lt"/>
                <a:ea typeface="+mn-ea"/>
                <a:cs typeface="+mn-cs"/>
              </a:rPr>
              <a:t>After commit, control is returned to the client before any acknowledgement is received from any synchronous secondary</a:t>
            </a:r>
            <a:r>
              <a:rPr lang="en-US" sz="882" b="0" i="0" kern="1200" baseline="0" dirty="0">
                <a:solidFill>
                  <a:schemeClr val="tx1"/>
                </a:solidFill>
                <a:effectLst/>
                <a:latin typeface="+mn-lt"/>
                <a:ea typeface="+mn-ea"/>
                <a:cs typeface="+mn-cs"/>
              </a:rPr>
              <a:t>. Replication to secondary replicas does continue to happen as flush to disk on the primary happe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Failover clustering</a:t>
            </a:r>
            <a:br>
              <a:rPr lang="en-US" sz="882" b="0" i="0" kern="1200" baseline="0" dirty="0">
                <a:solidFill>
                  <a:schemeClr val="tx1"/>
                </a:solidFill>
                <a:effectLst/>
                <a:latin typeface="+mn-lt"/>
                <a:ea typeface="+mn-ea"/>
                <a:cs typeface="+mn-cs"/>
              </a:rPr>
            </a:br>
            <a:r>
              <a:rPr lang="en-US" sz="882" b="0" i="1" kern="1200" baseline="0" dirty="0">
                <a:solidFill>
                  <a:schemeClr val="tx1"/>
                </a:solidFill>
                <a:effectLst/>
                <a:latin typeface="+mn-lt"/>
                <a:ea typeface="+mn-ea"/>
                <a:cs typeface="+mn-cs"/>
              </a:rPr>
              <a:t>Some delayed durable transaction writes might be lost</a:t>
            </a:r>
            <a:r>
              <a:rPr lang="en-US" sz="882" b="0" i="0" kern="1200" baseline="0" dirty="0">
                <a:solidFill>
                  <a:schemeClr val="tx1"/>
                </a:solidFill>
                <a:effectLst/>
                <a:latin typeface="+mn-lt"/>
                <a:ea typeface="+mn-ea"/>
                <a:cs typeface="+mn-cs"/>
              </a:rPr>
              <a: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Transaction Replication</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Delayed durable transactions is not supported with Transactional Replication</a:t>
            </a:r>
            <a:r>
              <a:rPr lang="en-US" sz="882" b="0" i="0" kern="1200" baseline="0" dirty="0">
                <a:solidFill>
                  <a:schemeClr val="tx1"/>
                </a:solidFill>
                <a:effectLst/>
                <a:latin typeface="+mn-lt"/>
                <a:ea typeface="+mn-ea"/>
                <a:cs typeface="+mn-cs"/>
              </a:rPr>
              <a: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Log shipping</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Only transactions that have been made durable </a:t>
            </a:r>
            <a:r>
              <a:rPr lang="en-US" sz="882" b="0" i="0" kern="1200" baseline="0" dirty="0">
                <a:solidFill>
                  <a:schemeClr val="tx1"/>
                </a:solidFill>
                <a:effectLst/>
                <a:latin typeface="+mn-lt"/>
                <a:ea typeface="+mn-ea"/>
                <a:cs typeface="+mn-cs"/>
              </a:rPr>
              <a:t>are included in the log that is shipped.</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Log Backup</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Only transactions that have been made </a:t>
            </a:r>
            <a:r>
              <a:rPr lang="en-US" sz="882" b="1" i="0" kern="1200" baseline="0" dirty="0">
                <a:solidFill>
                  <a:schemeClr val="tx1"/>
                </a:solidFill>
                <a:effectLst/>
                <a:latin typeface="+mn-lt"/>
                <a:ea typeface="+mn-ea"/>
                <a:cs typeface="+mn-cs"/>
              </a:rPr>
              <a:t>durable are included in the backup</a:t>
            </a:r>
            <a:r>
              <a:rPr lang="en-US" sz="882" b="0" i="0" kern="1200" baseline="0" dirty="0">
                <a:solidFill>
                  <a:schemeClr val="tx1"/>
                </a:solidFill>
                <a:effectLst/>
                <a:latin typeface="+mn-lt"/>
                <a:ea typeface="+mn-ea"/>
                <a:cs typeface="+mn-cs"/>
              </a:rPr>
              <a: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dirty="0"/>
          </a:p>
        </p:txBody>
      </p:sp>
    </p:spTree>
    <p:extLst>
      <p:ext uri="{BB962C8B-B14F-4D97-AF65-F5344CB8AC3E}">
        <p14:creationId xmlns:p14="http://schemas.microsoft.com/office/powerpoint/2010/main" val="537195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Delayed durability and other SQL Server feature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hange tracking and change data captur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All transactions with change tracking are fully durable. A transaction has the change tracking property if it does any write operations to tables that are enabled for change tracking. </a:t>
            </a:r>
            <a:r>
              <a:rPr lang="en-US" sz="882" b="1" i="0" kern="1200" baseline="0" dirty="0">
                <a:solidFill>
                  <a:schemeClr val="tx1"/>
                </a:solidFill>
                <a:effectLst/>
                <a:latin typeface="+mn-lt"/>
                <a:ea typeface="+mn-ea"/>
                <a:cs typeface="+mn-cs"/>
              </a:rPr>
              <a:t>The use of delayed durability is not supported for databases which use change data capture (CDC).</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rash recovery</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Consistency is guaranteed, but </a:t>
            </a:r>
            <a:r>
              <a:rPr lang="en-US" sz="882" b="1" i="0" kern="1200" baseline="0" dirty="0">
                <a:solidFill>
                  <a:schemeClr val="tx1"/>
                </a:solidFill>
                <a:effectLst/>
                <a:latin typeface="+mn-lt"/>
                <a:ea typeface="+mn-ea"/>
                <a:cs typeface="+mn-cs"/>
              </a:rPr>
              <a:t>some changes from delayed durable transactions that have committed may be los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Cross-database and DT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If a transaction is cross-database or distributed, it is </a:t>
            </a:r>
            <a:r>
              <a:rPr lang="en-US" sz="882" b="1" i="0" kern="1200" baseline="0" dirty="0">
                <a:solidFill>
                  <a:schemeClr val="tx1"/>
                </a:solidFill>
                <a:effectLst/>
                <a:latin typeface="+mn-lt"/>
                <a:ea typeface="+mn-ea"/>
                <a:cs typeface="+mn-cs"/>
              </a:rPr>
              <a:t>fully durable, regardless of any database or transaction commit setting</a:t>
            </a:r>
            <a:r>
              <a:rPr lang="en-US" sz="882" b="0" i="0" kern="1200" baseline="0" dirty="0">
                <a:solidFill>
                  <a:schemeClr val="tx1"/>
                </a:solidFill>
                <a:effectLst/>
                <a:latin typeface="+mn-lt"/>
                <a:ea typeface="+mn-ea"/>
                <a:cs typeface="+mn-cs"/>
              </a:rPr>
              <a:t>.</a:t>
            </a:r>
          </a:p>
          <a:p>
            <a:pPr marL="171450" lvl="0" indent="-171450">
              <a:buFont typeface="Arial" panose="020B0604020202020204" pitchFamily="34" charset="0"/>
              <a:buChar char="•"/>
            </a:pPr>
            <a:r>
              <a:rPr lang="en-US" sz="882" b="1" i="0" kern="1200" baseline="0" dirty="0">
                <a:solidFill>
                  <a:schemeClr val="tx1"/>
                </a:solidFill>
                <a:effectLst/>
                <a:latin typeface="+mn-lt"/>
                <a:ea typeface="+mn-ea"/>
                <a:cs typeface="+mn-cs"/>
              </a:rPr>
              <a:t>Always On Availability Groups and Mirroring</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Delayed durable transactions do not guarantee any durability on either the primary or any of the secondaries</a:t>
            </a:r>
            <a:r>
              <a:rPr lang="en-US" sz="882" b="0" i="0" kern="1200" baseline="0" dirty="0">
                <a:solidFill>
                  <a:schemeClr val="tx1"/>
                </a:solidFill>
                <a:effectLst/>
                <a:latin typeface="+mn-lt"/>
                <a:ea typeface="+mn-ea"/>
                <a:cs typeface="+mn-cs"/>
              </a:rPr>
              <a:t>. In addition, they do not guarantee any knowledge about the transaction at the secondary. </a:t>
            </a:r>
            <a:r>
              <a:rPr lang="en-US" sz="882" b="1" i="0" kern="1200" baseline="0" dirty="0">
                <a:solidFill>
                  <a:schemeClr val="tx1"/>
                </a:solidFill>
                <a:effectLst/>
                <a:latin typeface="+mn-lt"/>
                <a:ea typeface="+mn-ea"/>
                <a:cs typeface="+mn-cs"/>
              </a:rPr>
              <a:t>After commit, control is returned to the client before any acknowledgement is received from any synchronous secondary</a:t>
            </a:r>
            <a:r>
              <a:rPr lang="en-US" sz="882" b="0" i="0" kern="1200" baseline="0" dirty="0">
                <a:solidFill>
                  <a:schemeClr val="tx1"/>
                </a:solidFill>
                <a:effectLst/>
                <a:latin typeface="+mn-lt"/>
                <a:ea typeface="+mn-ea"/>
                <a:cs typeface="+mn-cs"/>
              </a:rPr>
              <a:t>. Replication to secondary replicas does continue to happen as flush to disk on the primary happe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Failover clustering</a:t>
            </a:r>
            <a:br>
              <a:rPr lang="en-US" sz="882" b="0" i="0" kern="1200" baseline="0" dirty="0">
                <a:solidFill>
                  <a:schemeClr val="tx1"/>
                </a:solidFill>
                <a:effectLst/>
                <a:latin typeface="+mn-lt"/>
                <a:ea typeface="+mn-ea"/>
                <a:cs typeface="+mn-cs"/>
              </a:rPr>
            </a:br>
            <a:r>
              <a:rPr lang="en-US" sz="882" b="0" i="1" kern="1200" baseline="0" dirty="0">
                <a:solidFill>
                  <a:schemeClr val="tx1"/>
                </a:solidFill>
                <a:effectLst/>
                <a:latin typeface="+mn-lt"/>
                <a:ea typeface="+mn-ea"/>
                <a:cs typeface="+mn-cs"/>
              </a:rPr>
              <a:t>Some delayed durable transaction writes might be lost</a:t>
            </a:r>
            <a:r>
              <a:rPr lang="en-US" sz="882" b="0" i="0" kern="1200" baseline="0" dirty="0">
                <a:solidFill>
                  <a:schemeClr val="tx1"/>
                </a:solidFill>
                <a:effectLst/>
                <a:latin typeface="+mn-lt"/>
                <a:ea typeface="+mn-ea"/>
                <a:cs typeface="+mn-cs"/>
              </a:rPr>
              <a: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Transaction Replication</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Delayed durable transactions is not supported with Transactional Replication</a:t>
            </a:r>
            <a:r>
              <a:rPr lang="en-US" sz="882" b="0" i="0" kern="1200" baseline="0" dirty="0">
                <a:solidFill>
                  <a:schemeClr val="tx1"/>
                </a:solidFill>
                <a:effectLst/>
                <a:latin typeface="+mn-lt"/>
                <a:ea typeface="+mn-ea"/>
                <a:cs typeface="+mn-cs"/>
              </a:rPr>
              <a:t>.</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Log shipping</a:t>
            </a:r>
            <a:br>
              <a:rPr lang="en-US" sz="882" b="0" i="0" kern="1200" baseline="0" dirty="0">
                <a:solidFill>
                  <a:schemeClr val="tx1"/>
                </a:solidFill>
                <a:effectLst/>
                <a:latin typeface="+mn-lt"/>
                <a:ea typeface="+mn-ea"/>
                <a:cs typeface="+mn-cs"/>
              </a:rPr>
            </a:br>
            <a:r>
              <a:rPr lang="en-US" sz="882" b="1" i="0" kern="1200" baseline="0" dirty="0">
                <a:solidFill>
                  <a:schemeClr val="tx1"/>
                </a:solidFill>
                <a:effectLst/>
                <a:latin typeface="+mn-lt"/>
                <a:ea typeface="+mn-ea"/>
                <a:cs typeface="+mn-cs"/>
              </a:rPr>
              <a:t>Only transactions that have been made durable </a:t>
            </a:r>
            <a:r>
              <a:rPr lang="en-US" sz="882" b="0" i="0" kern="1200" baseline="0" dirty="0">
                <a:solidFill>
                  <a:schemeClr val="tx1"/>
                </a:solidFill>
                <a:effectLst/>
                <a:latin typeface="+mn-lt"/>
                <a:ea typeface="+mn-ea"/>
                <a:cs typeface="+mn-cs"/>
              </a:rPr>
              <a:t>are included in the log that is shipped.</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Log Backup</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Only transactions that have been made </a:t>
            </a:r>
            <a:r>
              <a:rPr lang="en-US" sz="882" b="1" i="0" kern="1200" baseline="0" dirty="0">
                <a:solidFill>
                  <a:schemeClr val="tx1"/>
                </a:solidFill>
                <a:effectLst/>
                <a:latin typeface="+mn-lt"/>
                <a:ea typeface="+mn-ea"/>
                <a:cs typeface="+mn-cs"/>
              </a:rPr>
              <a:t>durable are included in the backup</a:t>
            </a:r>
            <a:r>
              <a:rPr lang="en-US" sz="882" b="0" i="0" kern="1200" baseline="0" dirty="0">
                <a:solidFill>
                  <a:schemeClr val="tx1"/>
                </a:solidFill>
                <a:effectLst/>
                <a:latin typeface="+mn-lt"/>
                <a:ea typeface="+mn-ea"/>
                <a:cs typeface="+mn-cs"/>
              </a:rPr>
              <a:t>.</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366327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90563" indent="-228600">
              <a:buFont typeface="+mj-lt"/>
              <a:buAutoNum type="arabicPeriod"/>
            </a:pPr>
            <a:r>
              <a:rPr lang="en-US" sz="800" dirty="0"/>
              <a:t>When the checkpoint process flushes the modified page to disk, or when </a:t>
            </a:r>
            <a:r>
              <a:rPr lang="en-US" sz="800" b="1" dirty="0"/>
              <a:t>the writer flushes out a dirty page from the buffer pool.</a:t>
            </a:r>
          </a:p>
          <a:p>
            <a:pPr marL="690563" indent="-228600">
              <a:buFont typeface="+mj-lt"/>
              <a:buAutoNum type="arabicPeriod"/>
            </a:pPr>
            <a:r>
              <a:rPr lang="en-US" sz="800" dirty="0"/>
              <a:t>When the log buffer fills up, a durable transaction is committed, or </a:t>
            </a:r>
            <a:r>
              <a:rPr lang="en-US" sz="800" b="1" dirty="0" err="1"/>
              <a:t>sp_flush_log</a:t>
            </a:r>
            <a:r>
              <a:rPr lang="en-US" sz="800" b="1" dirty="0"/>
              <a:t> </a:t>
            </a:r>
            <a:r>
              <a:rPr lang="en-US" sz="800" dirty="0"/>
              <a:t>is executed.</a:t>
            </a:r>
          </a:p>
          <a:p>
            <a:pPr marL="690563" indent="-228600">
              <a:buFont typeface="+mj-lt"/>
              <a:buAutoNum type="arabicPeriod"/>
            </a:pPr>
            <a:r>
              <a:rPr lang="en-US" sz="1600" b="1" dirty="0"/>
              <a:t>Goes into recovery process. </a:t>
            </a:r>
            <a:r>
              <a:rPr lang="en-US" sz="1600" dirty="0"/>
              <a:t>When the SQL Server is restarted, it will go through the recovery process. Any data changes that were committed and flushed to the transaction log file at the time of the crash but not yet persisted to the data file will be rolled forward based on the information stored in the transaction log file. Transactions that were not committed or were designated as delayed durability will be lost.</a:t>
            </a:r>
            <a:endParaRPr lang="en-US" sz="1600" dirty="0">
              <a:solidFill>
                <a:schemeClr val="bg1"/>
              </a:solidFill>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dirty="0"/>
          </a:p>
        </p:txBody>
      </p:sp>
    </p:spTree>
    <p:extLst>
      <p:ext uri="{BB962C8B-B14F-4D97-AF65-F5344CB8AC3E}">
        <p14:creationId xmlns:p14="http://schemas.microsoft.com/office/powerpoint/2010/main" val="21817531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Key Points:</a:t>
            </a:r>
          </a:p>
          <a:p>
            <a:pPr lvl="1"/>
            <a:r>
              <a:rPr lang="en-US" sz="882" b="0" i="0" kern="1200" baseline="0" dirty="0">
                <a:solidFill>
                  <a:schemeClr val="tx1"/>
                </a:solidFill>
                <a:effectLst/>
                <a:latin typeface="+mn-lt"/>
                <a:ea typeface="+mn-ea"/>
                <a:cs typeface="+mn-cs"/>
              </a:rPr>
              <a:t>Blocking is an unavoidable characteristic of any relational database management system (RDBMS). This is normal behavior and may happen many times throughout the course of a day with no noticeable effect on system performance.</a:t>
            </a:r>
            <a:br>
              <a:rPr lang="en-US" dirty="0"/>
            </a:br>
            <a:endParaRPr lang="en-US" dirty="0"/>
          </a:p>
          <a:p>
            <a:pPr marL="381762" lvl="1" indent="-171450">
              <a:buFont typeface="Arial" panose="020B0604020202020204" pitchFamily="34" charset="0"/>
              <a:buChar char="•"/>
            </a:pPr>
            <a:r>
              <a:rPr lang="en-US" dirty="0"/>
              <a:t>On SQL Server, blocking occurs when one SPID holds a lock on a specific resource and a second SPID attempts to acquire a conflicting lock type on the same resource. In this case you can say first SPID is blocking second SPID.</a:t>
            </a:r>
          </a:p>
          <a:p>
            <a:pPr marL="381762" lvl="1" indent="-171450">
              <a:buFont typeface="Arial" panose="020B0604020202020204" pitchFamily="34" charset="0"/>
              <a:buChar char="•"/>
            </a:pPr>
            <a:r>
              <a:rPr lang="en-US" dirty="0"/>
              <a:t>Typically, the time frame for which the first SPID locks the resource is very small. </a:t>
            </a:r>
          </a:p>
          <a:p>
            <a:pPr marL="381762" lvl="1" indent="-171450">
              <a:buFont typeface="Arial" panose="020B0604020202020204" pitchFamily="34" charset="0"/>
              <a:buChar char="•"/>
            </a:pPr>
            <a:r>
              <a:rPr lang="en-US" dirty="0"/>
              <a:t>When it releases the lock, the second connection is free to acquire its own lock on the resource and continue processing. </a:t>
            </a:r>
          </a:p>
          <a:p>
            <a:pPr lvl="2"/>
            <a:r>
              <a:rPr lang="en-US" b="1" dirty="0">
                <a:solidFill>
                  <a:schemeClr val="accent4"/>
                </a:solidFill>
              </a:rPr>
              <a:t>sys.dm_tran_locks</a:t>
            </a:r>
          </a:p>
          <a:p>
            <a:pPr lvl="3"/>
            <a:r>
              <a:rPr lang="en-US" dirty="0"/>
              <a:t>Each row has information about both the resource and the request.  </a:t>
            </a:r>
          </a:p>
          <a:p>
            <a:pPr lvl="3"/>
            <a:r>
              <a:rPr lang="en-US" dirty="0"/>
              <a:t>Request_status = WAIT implies blocking.</a:t>
            </a:r>
          </a:p>
          <a:p>
            <a:pPr lvl="2"/>
            <a:r>
              <a:rPr lang="en-US" b="1" dirty="0">
                <a:solidFill>
                  <a:schemeClr val="accent4"/>
                </a:solidFill>
              </a:rPr>
              <a:t>sys.dm_os_waiting_tasks </a:t>
            </a:r>
          </a:p>
          <a:p>
            <a:pPr marL="1060704" lvl="4" indent="0">
              <a:buNone/>
            </a:pPr>
            <a:r>
              <a:rPr lang="en-US" dirty="0"/>
              <a:t>Blocking_session_id &gt; 0</a:t>
            </a:r>
          </a:p>
          <a:p>
            <a:pPr lvl="2"/>
            <a:r>
              <a:rPr lang="en-US" b="1" dirty="0">
                <a:solidFill>
                  <a:schemeClr val="accent4"/>
                </a:solidFill>
              </a:rPr>
              <a:t>sys.dm_exec_requests </a:t>
            </a:r>
          </a:p>
          <a:p>
            <a:pPr lvl="3"/>
            <a:r>
              <a:rPr lang="en-US" dirty="0"/>
              <a:t>Status = suspended and blocking_session_id &gt; 0</a:t>
            </a:r>
          </a:p>
          <a:p>
            <a:pPr lvl="2"/>
            <a:r>
              <a:rPr lang="en-US" b="1" dirty="0">
                <a:solidFill>
                  <a:schemeClr val="accent4"/>
                </a:solidFill>
              </a:rPr>
              <a:t>Sys.Sysprocesses </a:t>
            </a:r>
          </a:p>
          <a:p>
            <a:pPr lvl="3"/>
            <a:r>
              <a:rPr lang="en-US" dirty="0"/>
              <a:t>Blocked_id&gt;0</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br>
              <a:rPr lang="en-US" dirty="0"/>
            </a:br>
            <a:r>
              <a:rPr lang="en-US" sz="882" b="0" i="0" kern="1200" baseline="0" dirty="0">
                <a:solidFill>
                  <a:schemeClr val="tx1"/>
                </a:solidFill>
                <a:effectLst/>
                <a:latin typeface="+mn-lt"/>
                <a:ea typeface="+mn-ea"/>
                <a:cs typeface="+mn-cs"/>
              </a:rPr>
              <a:t>The duration and transaction context of a query determine how long its locks are held and, thereby, their impact on other queries. </a:t>
            </a:r>
          </a:p>
          <a:p>
            <a:r>
              <a:rPr lang="en-US" sz="882" b="1" i="0" kern="1200" baseline="0" dirty="0">
                <a:solidFill>
                  <a:schemeClr val="tx1"/>
                </a:solidFill>
                <a:effectLst/>
                <a:latin typeface="+mn-lt"/>
                <a:ea typeface="+mn-ea"/>
                <a:cs typeface="+mn-cs"/>
              </a:rPr>
              <a:t>If the query is not executed within a transaction </a:t>
            </a:r>
            <a:r>
              <a:rPr lang="en-US" sz="882" b="0" i="0" kern="1200" baseline="0" dirty="0">
                <a:solidFill>
                  <a:schemeClr val="tx1"/>
                </a:solidFill>
                <a:effectLst/>
                <a:latin typeface="+mn-lt"/>
                <a:ea typeface="+mn-ea"/>
                <a:cs typeface="+mn-cs"/>
              </a:rPr>
              <a:t>(and no lock hints are used), the locks </a:t>
            </a:r>
            <a:r>
              <a:rPr lang="en-US" sz="882" b="0" i="1" kern="1200" baseline="0" dirty="0">
                <a:solidFill>
                  <a:schemeClr val="tx1"/>
                </a:solidFill>
                <a:effectLst/>
                <a:latin typeface="+mn-lt"/>
                <a:ea typeface="+mn-ea"/>
                <a:cs typeface="+mn-cs"/>
              </a:rPr>
              <a:t>for SELECT statements will only be held on a resource at the time it is actually being read</a:t>
            </a:r>
            <a:r>
              <a:rPr lang="en-US" sz="882" b="0" i="0" kern="1200" baseline="0" dirty="0">
                <a:solidFill>
                  <a:schemeClr val="tx1"/>
                </a:solidFill>
                <a:effectLst/>
                <a:latin typeface="+mn-lt"/>
                <a:ea typeface="+mn-ea"/>
                <a:cs typeface="+mn-cs"/>
              </a:rPr>
              <a:t>, not for the duration of the query. For </a:t>
            </a:r>
            <a:r>
              <a:rPr lang="en-US" sz="882" b="1" i="0" kern="1200" baseline="0" dirty="0">
                <a:solidFill>
                  <a:schemeClr val="tx1"/>
                </a:solidFill>
                <a:effectLst/>
                <a:latin typeface="+mn-lt"/>
                <a:ea typeface="+mn-ea"/>
                <a:cs typeface="+mn-cs"/>
              </a:rPr>
              <a:t>INSERT, UPDATE, and DELETE statements, the locks are held for the duration of the query</a:t>
            </a:r>
            <a:r>
              <a:rPr lang="en-US" sz="882" b="0" i="0" kern="1200" baseline="0" dirty="0">
                <a:solidFill>
                  <a:schemeClr val="tx1"/>
                </a:solidFill>
                <a:effectLst/>
                <a:latin typeface="+mn-lt"/>
                <a:ea typeface="+mn-ea"/>
                <a:cs typeface="+mn-cs"/>
              </a:rPr>
              <a:t>, both for data consistency and to allow the query to be rolled back if necessary.</a:t>
            </a:r>
            <a:br>
              <a:rPr lang="en-US" dirty="0"/>
            </a:br>
            <a:br>
              <a:rPr lang="en-US" dirty="0"/>
            </a:br>
            <a:r>
              <a:rPr lang="en-US" sz="882" b="1" i="0" kern="1200" baseline="0" dirty="0">
                <a:solidFill>
                  <a:schemeClr val="tx1"/>
                </a:solidFill>
                <a:effectLst/>
                <a:latin typeface="+mn-lt"/>
                <a:ea typeface="+mn-ea"/>
                <a:cs typeface="+mn-cs"/>
              </a:rPr>
              <a:t>For queries executed within a transaction</a:t>
            </a:r>
            <a:r>
              <a:rPr lang="en-US" sz="882" b="0" i="0" kern="1200" baseline="0" dirty="0">
                <a:solidFill>
                  <a:schemeClr val="tx1"/>
                </a:solidFill>
                <a:effectLst/>
                <a:latin typeface="+mn-lt"/>
                <a:ea typeface="+mn-ea"/>
                <a:cs typeface="+mn-cs"/>
              </a:rPr>
              <a:t>, the duration for which the locks are held are determined by the type of query, the transaction isolation level, and whether or not lock hints are used in the query. </a:t>
            </a:r>
          </a:p>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When locking and blocking increase to the point where there is a detrimental effect on system performance, it is usually due to one of the following reasons:</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for an extended period of time before releasing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a:t>
            </a:r>
            <a:r>
              <a:rPr lang="en-US" sz="882" b="1" i="0" kern="1200" baseline="0" dirty="0">
                <a:solidFill>
                  <a:schemeClr val="tx1"/>
                </a:solidFill>
                <a:effectLst/>
                <a:latin typeface="+mn-lt"/>
                <a:ea typeface="+mn-ea"/>
                <a:cs typeface="+mn-cs"/>
              </a:rPr>
              <a:t> resolves itself over tim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 can cause performance degradation.</a:t>
            </a:r>
          </a:p>
          <a:p>
            <a:pPr marL="171450" indent="-171450">
              <a:buFont typeface="Arial" panose="020B0604020202020204" pitchFamily="34" charset="0"/>
              <a:buChar char="•"/>
            </a:pPr>
            <a:r>
              <a:rPr lang="en-US" sz="882" b="1" i="0" kern="1200" baseline="0" dirty="0">
                <a:solidFill>
                  <a:schemeClr val="tx1"/>
                </a:solidFill>
                <a:effectLst/>
                <a:latin typeface="+mn-lt"/>
                <a:ea typeface="+mn-ea"/>
                <a:cs typeface="+mn-cs"/>
              </a:rPr>
              <a:t>A SPID holds locks on a set of resources and never releases them</a:t>
            </a:r>
            <a:r>
              <a:rPr lang="en-US" sz="882" b="0" i="0" kern="1200" baseline="0" dirty="0">
                <a:solidFill>
                  <a:schemeClr val="tx1"/>
                </a:solidFill>
                <a:effectLst/>
                <a:latin typeface="+mn-lt"/>
                <a:ea typeface="+mn-ea"/>
                <a:cs typeface="+mn-cs"/>
              </a:rPr>
              <a:t>. </a:t>
            </a:r>
          </a:p>
          <a:p>
            <a:r>
              <a:rPr lang="en-US" sz="882" b="0" i="0" kern="1200" baseline="0" dirty="0">
                <a:solidFill>
                  <a:schemeClr val="tx1"/>
                </a:solidFill>
                <a:effectLst/>
                <a:latin typeface="+mn-lt"/>
                <a:ea typeface="+mn-ea"/>
                <a:cs typeface="+mn-cs"/>
              </a:rPr>
              <a:t>	This type of blocking does not resolve itself and prevents access to the affected resources indefinitely.</a:t>
            </a:r>
          </a:p>
          <a:p>
            <a:endParaRPr lang="en-US" dirty="0"/>
          </a:p>
          <a:p>
            <a:r>
              <a:rPr lang="en-US" dirty="0">
                <a:hlinkClick r:id="rId3"/>
              </a:rPr>
              <a:t>https://support.microsoft.com/en-us/help/224453/inf-understanding-and-resolving-sql-server-blocking-problems</a:t>
            </a:r>
            <a:endParaRPr lang="en-US" dirty="0"/>
          </a:p>
          <a:p>
            <a:endParaRPr lang="en-US" dirty="0"/>
          </a:p>
          <a:p>
            <a:pPr lvl="0"/>
            <a:r>
              <a:rPr lang="en-US" u="sng" dirty="0"/>
              <a:t>You can use the following DMVs to view information regarding blocked resources and the cause for blocking</a:t>
            </a:r>
            <a:r>
              <a:rPr lang="en-US" dirty="0"/>
              <a:t>: </a:t>
            </a:r>
          </a:p>
          <a:p>
            <a:pPr lvl="1"/>
            <a:r>
              <a:rPr lang="en-US" b="1" dirty="0"/>
              <a:t>sys.dm_tran_locks</a:t>
            </a:r>
            <a:r>
              <a:rPr lang="en-US" dirty="0"/>
              <a:t>: </a:t>
            </a:r>
            <a:br>
              <a:rPr lang="en-US" dirty="0"/>
            </a:br>
            <a:r>
              <a:rPr lang="en-US" dirty="0"/>
              <a:t>This DMV returns information about currently active lock manager resources, including both the resources and the requests. Each row represents a currently active request to the lock manager for a lock that has been granted or is waiting to be granted. While using this DMV, check the request_status column value for the term WAIT. This indicates that the requested lock mode has not been granted and the requesting session is waiting. </a:t>
            </a:r>
          </a:p>
          <a:p>
            <a:pPr lvl="1"/>
            <a:r>
              <a:rPr lang="en-US" b="1" dirty="0"/>
              <a:t>sys.dm_os_waiting_tasks: only dmv shows parallism</a:t>
            </a:r>
            <a:br>
              <a:rPr lang="en-US" dirty="0"/>
            </a:br>
            <a:r>
              <a:rPr lang="en-US" dirty="0"/>
              <a:t>This DMV returns information about all the tasks that are currently waiting on some resource. While using this DMV, check the blocking_session_id column. A value greater than 0 indicates that the session_id listed is blocking the task. </a:t>
            </a:r>
          </a:p>
          <a:p>
            <a:pPr lvl="1"/>
            <a:r>
              <a:rPr lang="en-US" b="1" dirty="0"/>
              <a:t>sys.dm_exec_request</a:t>
            </a:r>
            <a:r>
              <a:rPr lang="en-US" dirty="0"/>
              <a:t>: </a:t>
            </a:r>
            <a:br>
              <a:rPr lang="en-US" dirty="0"/>
            </a:br>
            <a:r>
              <a:rPr lang="en-US" dirty="0"/>
              <a:t>This </a:t>
            </a:r>
            <a:r>
              <a:rPr lang="en-US" u="sng" dirty="0"/>
              <a:t>DMV returns information about each request that is executing within SQL Server</a:t>
            </a:r>
            <a:r>
              <a:rPr lang="en-US" dirty="0"/>
              <a:t>. The status column indicates whether the request is currently running or waiting on something. A status of suspended means the request is currently waiting on a resource other than CPU. If the status is suspended, check the blocking_session_id column. A value greater than 0 indicates that the session_id listed is blocking the session. </a:t>
            </a:r>
          </a:p>
          <a:p>
            <a:pPr lvl="1"/>
            <a:r>
              <a:rPr lang="en-US" b="1" dirty="0"/>
              <a:t>sys.dm_exec_sessions: </a:t>
            </a:r>
            <a:br>
              <a:rPr lang="en-US" dirty="0"/>
            </a:br>
            <a:r>
              <a:rPr lang="en-US" dirty="0"/>
              <a:t>This </a:t>
            </a:r>
            <a:r>
              <a:rPr lang="en-US" b="1" dirty="0"/>
              <a:t>DMV returns information about each authenticated session on the server, whether or not that session is currently executing a request</a:t>
            </a:r>
            <a:r>
              <a:rPr lang="en-US" dirty="0"/>
              <a:t>.  Check the blocking_session_id column. A value greater than 0 indicates that the session_id listed is blocking the session. </a:t>
            </a:r>
          </a:p>
          <a:p>
            <a:pPr lvl="1"/>
            <a:endParaRPr lang="en-US" dirty="0"/>
          </a:p>
          <a:p>
            <a:pPr lvl="1"/>
            <a:r>
              <a:rPr lang="en-US" dirty="0"/>
              <a:t>Sometimes blocking can’t be avoided but most of time by fixing code we can reduce it.</a:t>
            </a:r>
          </a:p>
          <a:p>
            <a:endParaRPr lang="en-US" dirty="0"/>
          </a:p>
          <a:p>
            <a:r>
              <a:rPr lang="en-US" b="1" dirty="0"/>
              <a:t>References:</a:t>
            </a:r>
          </a:p>
          <a:p>
            <a:r>
              <a:rPr lang="en-US" b="1" dirty="0"/>
              <a:t>Blocked Process Report Event Class</a:t>
            </a:r>
          </a:p>
          <a:p>
            <a:r>
              <a:rPr lang="en-US" dirty="0">
                <a:hlinkClick r:id="rId4"/>
              </a:rPr>
              <a:t>https://docs.microsoft.com/en-us/sql/relational-databases/event-classes/blocked-process-report-event-class?view=sql-server-ver15</a:t>
            </a:r>
            <a:endParaRPr lang="en-US" dirty="0"/>
          </a:p>
          <a:p>
            <a:pPr marL="0" lvl="0" indent="-37284">
              <a:buNone/>
            </a:pPr>
            <a:r>
              <a:rPr lang="en-US" b="1" dirty="0"/>
              <a:t>For more information</a:t>
            </a:r>
            <a:r>
              <a:rPr lang="en-US" dirty="0"/>
              <a:t>, see: </a:t>
            </a:r>
            <a:r>
              <a:rPr lang="en-US" b="1" dirty="0"/>
              <a:t>sys.dm_tran_locks (Transact-SQL)</a:t>
            </a:r>
            <a:br>
              <a:rPr lang="en-US" dirty="0"/>
            </a:br>
            <a:r>
              <a:rPr lang="en-US" dirty="0">
                <a:hlinkClick r:id="rId5"/>
              </a:rPr>
              <a:t>https://docs.microsoft.com/en-us/sql/relational-databases/system-dynamic-management-views/sys-dm-tran-locks-transact-sql</a:t>
            </a:r>
            <a:endParaRPr lang="en-US" b="1" dirty="0"/>
          </a:p>
          <a:p>
            <a:pPr marL="0" lvl="0" indent="-37284">
              <a:buNone/>
            </a:pPr>
            <a:r>
              <a:rPr lang="en-US" b="1" dirty="0"/>
              <a:t>For more information</a:t>
            </a:r>
            <a:r>
              <a:rPr lang="en-US" dirty="0"/>
              <a:t>, see: </a:t>
            </a:r>
            <a:r>
              <a:rPr lang="en-US" b="1" dirty="0"/>
              <a:t>sys.dm_os_waiting_tasks (Transact-SQL)</a:t>
            </a:r>
            <a:br>
              <a:rPr lang="en-US" dirty="0"/>
            </a:br>
            <a:r>
              <a:rPr lang="en-US" dirty="0">
                <a:hlinkClick r:id="rId6"/>
              </a:rPr>
              <a:t>https://docs.microsoft.com/en-us/sql/relational-databases/system-dynamic-management-views/sys-dm-os-waiting-tasks-transact-sql</a:t>
            </a:r>
            <a:endParaRPr lang="en-US" dirty="0"/>
          </a:p>
          <a:p>
            <a:pPr marL="0" lvl="0" indent="-37284">
              <a:buNone/>
            </a:pPr>
            <a:r>
              <a:rPr lang="en-US" b="1" dirty="0"/>
              <a:t>For more information</a:t>
            </a:r>
            <a:r>
              <a:rPr lang="en-US" dirty="0"/>
              <a:t>, see: </a:t>
            </a:r>
            <a:r>
              <a:rPr lang="en-US" b="1" dirty="0"/>
              <a:t>sys.dm_exec_requests (Transact-SQL)</a:t>
            </a:r>
            <a:br>
              <a:rPr lang="en-US" dirty="0"/>
            </a:br>
            <a:r>
              <a:rPr lang="en-US" dirty="0">
                <a:hlinkClick r:id="rId7"/>
              </a:rPr>
              <a:t>https://docs.microsoft.com/en-us/sql/relational-databases/system-dynamic-management-views/sys-dm-exec-request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0</a:t>
            </a:fld>
            <a:endParaRPr lang="en-US" noProof="0" dirty="0"/>
          </a:p>
        </p:txBody>
      </p:sp>
    </p:spTree>
    <p:extLst>
      <p:ext uri="{BB962C8B-B14F-4D97-AF65-F5344CB8AC3E}">
        <p14:creationId xmlns:p14="http://schemas.microsoft.com/office/powerpoint/2010/main" val="33633148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0312" marR="0" lvl="1" indent="-109728" algn="l" defTabSz="914400" rtl="0" eaLnBrk="1" fontAlgn="auto" latinLnBrk="0" hangingPunct="1">
              <a:lnSpc>
                <a:spcPct val="90000"/>
              </a:lnSpc>
              <a:spcBef>
                <a:spcPts val="333"/>
              </a:spcBef>
              <a:spcAft>
                <a:spcPts val="0"/>
              </a:spcAft>
              <a:buClr>
                <a:schemeClr val="tx1"/>
              </a:buClr>
              <a:buSzPct val="90000"/>
              <a:tabLst/>
              <a:defRPr/>
            </a:pPr>
            <a:r>
              <a:rPr lang="en-US" b="1" dirty="0"/>
              <a:t>SPID that is in a rollback state</a:t>
            </a:r>
          </a:p>
          <a:p>
            <a:pPr marL="390906" lvl="2" indent="-171450"/>
            <a:r>
              <a:rPr lang="en-US" sz="882" b="1" i="0" kern="1200" baseline="0" dirty="0">
                <a:solidFill>
                  <a:schemeClr val="tx1"/>
                </a:solidFill>
                <a:effectLst/>
                <a:latin typeface="+mn-lt"/>
                <a:ea typeface="+mn-ea"/>
                <a:cs typeface="+mn-cs"/>
              </a:rPr>
              <a:t>	Resolution</a:t>
            </a:r>
            <a:r>
              <a:rPr lang="en-US" sz="882" b="0" i="0" kern="1200" baseline="0" dirty="0">
                <a:solidFill>
                  <a:schemeClr val="tx1"/>
                </a:solidFill>
                <a:effectLst/>
                <a:latin typeface="+mn-lt"/>
                <a:ea typeface="+mn-ea"/>
                <a:cs typeface="+mn-cs"/>
              </a:rPr>
              <a:t>:</a:t>
            </a:r>
            <a:br>
              <a:rPr lang="en-US" dirty="0"/>
            </a:br>
            <a:r>
              <a:rPr lang="en-US" dirty="0"/>
              <a:t>	</a:t>
            </a:r>
            <a:r>
              <a:rPr lang="en-US" sz="882" b="0" i="0" kern="1200" baseline="0" dirty="0">
                <a:solidFill>
                  <a:schemeClr val="tx1"/>
                </a:solidFill>
                <a:effectLst/>
                <a:latin typeface="+mn-lt"/>
                <a:ea typeface="+mn-ea"/>
                <a:cs typeface="+mn-cs"/>
              </a:rPr>
              <a:t>You must wait for the SPID to finish rolling back the changes that were made.</a:t>
            </a:r>
            <a:endParaRPr lang="en-US" b="1" dirty="0"/>
          </a:p>
          <a:p>
            <a:pPr marL="210312" lvl="1" indent="-109728"/>
            <a:r>
              <a:rPr lang="en-US" b="1" dirty="0"/>
              <a:t>Blocking Caused by a Normally Running Query with a Long Execution Time</a:t>
            </a:r>
          </a:p>
          <a:p>
            <a:pPr marL="674370" lvl="4" indent="-171450"/>
            <a:br>
              <a:rPr lang="en-US" b="1" dirty="0"/>
            </a:br>
            <a:r>
              <a:rPr lang="en-US" b="1" dirty="0"/>
              <a:t>Resolution:</a:t>
            </a:r>
            <a:br>
              <a:rPr lang="en-US" b="1" dirty="0"/>
            </a:br>
            <a:r>
              <a:rPr lang="en-US" dirty="0"/>
              <a:t>The solution to this type of blocking problem is to </a:t>
            </a:r>
            <a:r>
              <a:rPr lang="en-US" b="1" dirty="0"/>
              <a:t>look for ways to optimize the query</a:t>
            </a:r>
            <a:r>
              <a:rPr lang="en-US" dirty="0"/>
              <a:t>. Actually,</a:t>
            </a:r>
            <a:r>
              <a:rPr lang="en-US" u="sng" dirty="0"/>
              <a:t> this class of blocking problem may just be a performance problem, and require you to pursue it as such</a:t>
            </a:r>
            <a:r>
              <a:rPr lang="en-US" dirty="0"/>
              <a:t>. If you have a long-running query that is blocking other users and cannot be optimized, consider moving it from an Online Transaction Processing (OLTP) environment to a decision support system. </a:t>
            </a:r>
          </a:p>
          <a:p>
            <a:pPr marL="210312" lvl="1" indent="-109728"/>
            <a:r>
              <a:rPr lang="en-US" b="1" dirty="0"/>
              <a:t>Blocking Caused by a Sleeping SPID That Has Lost Track of the Transaction Nesting Level or rollback is happening</a:t>
            </a:r>
            <a:br>
              <a:rPr lang="en-US" b="1" dirty="0"/>
            </a:br>
            <a:r>
              <a:rPr lang="en-US" dirty="0"/>
              <a:t>This type of blocking can often be identified by a SPID that is sleeping or awaiting a command, yet</a:t>
            </a:r>
            <a:r>
              <a:rPr lang="en-US" b="1" dirty="0"/>
              <a:t> whose transaction nesting level (@@TRANCOUNT, open_tran from sysprocesses) is greater than zero</a:t>
            </a:r>
            <a:r>
              <a:rPr lang="en-US" dirty="0"/>
              <a:t>. </a:t>
            </a:r>
            <a:r>
              <a:rPr lang="en-US" u="sng" dirty="0"/>
              <a:t>This can occur if the application experiences a query timeout</a:t>
            </a:r>
            <a:r>
              <a:rPr lang="en-US" dirty="0"/>
              <a:t>, or </a:t>
            </a:r>
            <a:r>
              <a:rPr lang="en-US" u="sng" dirty="0"/>
              <a:t>issues a cancel without also issuing the required number of ROLLBACK and/or COMMIT statements</a:t>
            </a:r>
            <a:r>
              <a:rPr lang="en-US" dirty="0"/>
              <a:t>. </a:t>
            </a:r>
            <a:br>
              <a:rPr lang="en-US" dirty="0"/>
            </a:br>
            <a:r>
              <a:rPr lang="en-US" dirty="0"/>
              <a:t>       </a:t>
            </a:r>
            <a:r>
              <a:rPr lang="en-US" b="1" dirty="0"/>
              <a:t>Resolutions:</a:t>
            </a:r>
            <a:endParaRPr lang="en-US" dirty="0"/>
          </a:p>
          <a:p>
            <a:pPr lvl="6"/>
            <a:r>
              <a:rPr lang="en-US" b="1" dirty="0"/>
              <a:t>Applications must properly manage transaction nesting levels</a:t>
            </a:r>
            <a:r>
              <a:rPr lang="en-US" dirty="0"/>
              <a:t>, or they may cause a blocking problem following the cancellation of the query in this manner. This can be accomplished in one of several ways: </a:t>
            </a:r>
          </a:p>
          <a:p>
            <a:pPr lvl="7"/>
            <a:r>
              <a:rPr lang="en-US" b="1" dirty="0"/>
              <a:t>In the error handler of the client application</a:t>
            </a:r>
            <a:r>
              <a:rPr lang="en-US" dirty="0"/>
              <a:t>, </a:t>
            </a:r>
            <a:r>
              <a:rPr lang="en-US" b="1" u="sng" dirty="0"/>
              <a:t>submit an IF @@TRANCOUNT &gt; 0 ROLLBACK TRAN </a:t>
            </a:r>
            <a:r>
              <a:rPr lang="en-US" u="sng" dirty="0"/>
              <a:t>following any error</a:t>
            </a:r>
            <a:r>
              <a:rPr lang="en-US" dirty="0"/>
              <a:t>, even if the client application does not believe that a transaction is open. </a:t>
            </a:r>
            <a:r>
              <a:rPr lang="en-US" u="sng" dirty="0"/>
              <a:t>This is required, because a stored procedure called during the batch could have started a transaction without the client application's knowledge</a:t>
            </a:r>
            <a:r>
              <a:rPr lang="en-US" dirty="0"/>
              <a:t>. Note that certain conditions, such as cancelling the query, prevent the procedure from running the current statement, so even if the procedure has logic to check </a:t>
            </a:r>
            <a:r>
              <a:rPr lang="en-US" u="sng" dirty="0"/>
              <a:t>IF @@ERROR &lt;&gt; 0 and abort the transaction, this rollback code will not be run in such cases</a:t>
            </a:r>
            <a:r>
              <a:rPr lang="en-US" dirty="0"/>
              <a:t>.</a:t>
            </a:r>
          </a:p>
          <a:p>
            <a:pPr lvl="7"/>
            <a:r>
              <a:rPr lang="en-US" sz="982" b="1" i="0" kern="1200" baseline="0" dirty="0">
                <a:solidFill>
                  <a:schemeClr val="tx1"/>
                </a:solidFill>
                <a:effectLst/>
                <a:latin typeface="+mn-lt"/>
                <a:ea typeface="+mn-ea"/>
                <a:cs typeface="+mn-cs"/>
              </a:rPr>
              <a:t>Use SET XACT_ABORT ON for the connection</a:t>
            </a:r>
            <a:r>
              <a:rPr lang="en-US" sz="982" b="0" i="0" kern="1200" baseline="0" dirty="0">
                <a:solidFill>
                  <a:schemeClr val="tx1"/>
                </a:solidFill>
                <a:effectLst/>
                <a:latin typeface="+mn-lt"/>
                <a:ea typeface="+mn-ea"/>
                <a:cs typeface="+mn-cs"/>
              </a:rPr>
              <a:t>, or in any stored procedures which begin transactions and are not cleaning up following an error. In the event of a run-time error, this setting will abort any open transactions and return control to the client. Note that T-SQL statements following the statement which caused the error will not be executed.</a:t>
            </a:r>
          </a:p>
          <a:p>
            <a:pPr marL="329184" lvl="2" indent="-118872"/>
            <a:r>
              <a:rPr lang="en-US" sz="882" b="1" i="0" kern="1200" baseline="0" dirty="0">
                <a:solidFill>
                  <a:schemeClr val="tx1"/>
                </a:solidFill>
                <a:effectLst/>
                <a:latin typeface="+mn-lt"/>
                <a:ea typeface="+mn-ea"/>
                <a:cs typeface="+mn-cs"/>
              </a:rPr>
              <a:t>Blocking Caused by a SPID Whose Corresponding Client Application Did Not Fetch All Result Rows to Completion</a:t>
            </a:r>
            <a:br>
              <a:rPr lang="en-US" dirty="0"/>
            </a:b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br>
              <a:rPr lang="en-US" dirty="0"/>
            </a:br>
            <a:r>
              <a:rPr lang="en-US" sz="882" b="0" i="0" kern="1200" baseline="0" dirty="0">
                <a:solidFill>
                  <a:schemeClr val="tx1"/>
                </a:solidFill>
                <a:effectLst/>
                <a:latin typeface="+mn-lt"/>
                <a:ea typeface="+mn-ea"/>
                <a:cs typeface="+mn-cs"/>
              </a:rPr>
              <a:t>The application must be </a:t>
            </a:r>
            <a:r>
              <a:rPr lang="en-US" sz="882" b="1" i="0" kern="1200" baseline="0" dirty="0">
                <a:solidFill>
                  <a:schemeClr val="tx1"/>
                </a:solidFill>
                <a:effectLst/>
                <a:latin typeface="+mn-lt"/>
                <a:ea typeface="+mn-ea"/>
                <a:cs typeface="+mn-cs"/>
              </a:rPr>
              <a:t>re-written to fetch </a:t>
            </a:r>
            <a:r>
              <a:rPr lang="en-US" sz="882" b="0" i="0" kern="1200" baseline="0" dirty="0">
                <a:solidFill>
                  <a:schemeClr val="tx1"/>
                </a:solidFill>
                <a:effectLst/>
                <a:latin typeface="+mn-lt"/>
                <a:ea typeface="+mn-ea"/>
                <a:cs typeface="+mn-cs"/>
              </a:rPr>
              <a:t>all rows of the result to completion.</a:t>
            </a:r>
          </a:p>
          <a:p>
            <a:pPr lvl="2"/>
            <a:endParaRPr lang="en-US" sz="882" b="0" i="0" kern="1200" baseline="0" dirty="0">
              <a:solidFill>
                <a:schemeClr val="tx1"/>
              </a:solidFill>
              <a:effectLst/>
              <a:latin typeface="+mn-lt"/>
              <a:ea typeface="+mn-ea"/>
              <a:cs typeface="+mn-cs"/>
            </a:endParaRPr>
          </a:p>
          <a:p>
            <a:pPr marL="329184" lvl="2" indent="-118872"/>
            <a:r>
              <a:rPr lang="en-US" sz="882" b="1" i="0" kern="1200" baseline="0" dirty="0">
                <a:solidFill>
                  <a:schemeClr val="tx1"/>
                </a:solidFill>
                <a:effectLst/>
                <a:latin typeface="+mn-lt"/>
                <a:ea typeface="+mn-ea"/>
                <a:cs typeface="+mn-cs"/>
              </a:rPr>
              <a:t>Blocking Caused by an Orphaned Connection</a:t>
            </a:r>
            <a:br>
              <a:rPr lang="en-US" dirty="0"/>
            </a:br>
            <a:r>
              <a:rPr lang="en-US" sz="882" b="1" i="0" kern="1200" baseline="0" dirty="0">
                <a:solidFill>
                  <a:schemeClr val="tx1"/>
                </a:solidFill>
                <a:effectLst/>
                <a:latin typeface="+mn-lt"/>
                <a:ea typeface="+mn-ea"/>
                <a:cs typeface="+mn-cs"/>
              </a:rPr>
              <a:t>Resolution</a:t>
            </a:r>
            <a:r>
              <a:rPr lang="en-US" sz="882" b="0" i="0" kern="1200" baseline="0" dirty="0">
                <a:solidFill>
                  <a:schemeClr val="tx1"/>
                </a:solidFill>
                <a:effectLst/>
                <a:latin typeface="+mn-lt"/>
                <a:ea typeface="+mn-ea"/>
                <a:cs typeface="+mn-cs"/>
              </a:rPr>
              <a:t>:</a:t>
            </a:r>
          </a:p>
          <a:p>
            <a:pPr marL="329184" lvl="2" indent="-118872"/>
            <a:r>
              <a:rPr lang="en-US" dirty="0"/>
              <a:t>	If the client application has disconnected without appropriately cleaning up its resources, you can terminate the SPID by using </a:t>
            </a:r>
            <a:r>
              <a:rPr lang="en-US" b="1" dirty="0"/>
              <a:t>the KILL command.</a:t>
            </a:r>
          </a:p>
          <a:p>
            <a:pPr marL="329184" marR="0" lvl="2" indent="-118872" algn="l" defTabSz="914400" rtl="0" eaLnBrk="1" fontAlgn="auto" latinLnBrk="0" hangingPunct="1">
              <a:lnSpc>
                <a:spcPct val="90000"/>
              </a:lnSpc>
              <a:spcBef>
                <a:spcPts val="333"/>
              </a:spcBef>
              <a:spcAft>
                <a:spcPts val="0"/>
              </a:spcAft>
              <a:buClr>
                <a:schemeClr val="tx1"/>
              </a:buClr>
              <a:buSzPct val="90000"/>
              <a:tabLst/>
              <a:defRPr/>
            </a:pPr>
            <a:r>
              <a:rPr lang="en-US" b="1" dirty="0"/>
              <a:t>Distributed client/server deadlock</a:t>
            </a:r>
          </a:p>
          <a:p>
            <a:pPr marL="329184" lvl="2" indent="-118872"/>
            <a:endParaRPr lang="en-US" b="1" dirty="0"/>
          </a:p>
          <a:p>
            <a:pPr marL="637794" lvl="6" indent="-171450"/>
            <a:r>
              <a:rPr lang="en-US" sz="982" b="1" i="0" kern="1200" baseline="0" dirty="0">
                <a:solidFill>
                  <a:schemeClr val="tx1"/>
                </a:solidFill>
                <a:effectLst/>
                <a:latin typeface="+mn-lt"/>
                <a:ea typeface="+mn-ea"/>
                <a:cs typeface="+mn-cs"/>
              </a:rPr>
              <a:t>Resolutions</a:t>
            </a:r>
            <a:r>
              <a:rPr lang="en-US" sz="982" b="0" i="0" kern="1200" baseline="0" dirty="0">
                <a:solidFill>
                  <a:schemeClr val="tx1"/>
                </a:solidFill>
                <a:effectLst/>
                <a:latin typeface="+mn-lt"/>
                <a:ea typeface="+mn-ea"/>
                <a:cs typeface="+mn-cs"/>
              </a:rPr>
              <a:t>:</a:t>
            </a:r>
            <a:br>
              <a:rPr lang="en-US" dirty="0"/>
            </a:br>
            <a:br>
              <a:rPr lang="en-US" dirty="0"/>
            </a:br>
            <a:r>
              <a:rPr lang="en-US" sz="982" b="0" i="0" kern="1200" baseline="0" dirty="0">
                <a:solidFill>
                  <a:schemeClr val="tx1"/>
                </a:solidFill>
                <a:effectLst/>
                <a:latin typeface="+mn-lt"/>
                <a:ea typeface="+mn-ea"/>
                <a:cs typeface="+mn-cs"/>
              </a:rPr>
              <a:t>Two reliable solutions are to use either a query timeout or bound connections.</a:t>
            </a:r>
            <a:br>
              <a:rPr lang="en-US" dirty="0"/>
            </a:br>
            <a:br>
              <a:rPr lang="en-US" dirty="0"/>
            </a:br>
            <a:r>
              <a:rPr lang="en-US" sz="982" b="1" i="0" kern="1200" baseline="0" dirty="0">
                <a:solidFill>
                  <a:schemeClr val="tx1"/>
                </a:solidFill>
                <a:effectLst/>
                <a:latin typeface="+mn-lt"/>
                <a:ea typeface="+mn-ea"/>
                <a:cs typeface="+mn-cs"/>
              </a:rPr>
              <a:t>Query Timeout</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When a query timeout has been provided, if the distributed deadlock occurs, it will be broken when then timeout happens. See the DB-Library or ODBC documentation for more information on using a query timeout.</a:t>
            </a:r>
          </a:p>
          <a:p>
            <a:pPr marL="637794" lvl="7" indent="-171450"/>
            <a:r>
              <a:rPr lang="en-US" sz="982" b="1" i="0" kern="1200" baseline="0" dirty="0">
                <a:solidFill>
                  <a:schemeClr val="tx1"/>
                </a:solidFill>
                <a:effectLst/>
                <a:latin typeface="+mn-lt"/>
                <a:ea typeface="+mn-ea"/>
                <a:cs typeface="+mn-cs"/>
              </a:rPr>
              <a:t>Bound Connections</a:t>
            </a:r>
            <a:br>
              <a:rPr lang="en-US" sz="982" b="0" i="0" kern="1200" baseline="0" dirty="0">
                <a:solidFill>
                  <a:schemeClr val="tx1"/>
                </a:solidFill>
                <a:effectLst/>
                <a:latin typeface="+mn-lt"/>
                <a:ea typeface="+mn-ea"/>
                <a:cs typeface="+mn-cs"/>
              </a:rPr>
            </a:br>
            <a:r>
              <a:rPr lang="en-US" sz="982" b="0" i="0" kern="1200" baseline="0" dirty="0">
                <a:solidFill>
                  <a:schemeClr val="tx1"/>
                </a:solidFill>
                <a:effectLst/>
                <a:latin typeface="+mn-lt"/>
                <a:ea typeface="+mn-ea"/>
                <a:cs typeface="+mn-cs"/>
              </a:rPr>
              <a:t>This feature allows a client having multiple connections to bind them into a single transaction space, so the connections do not block each other. For more information, see the "Using Bound Connections" topic in SQL Server 7.0 Books Online.</a:t>
            </a:r>
          </a:p>
          <a:p>
            <a:pPr marL="329184" lvl="2" indent="-118872"/>
            <a:endParaRPr lang="en-US" b="1" dirty="0"/>
          </a:p>
          <a:p>
            <a:pPr marL="0" indent="0">
              <a:buFont typeface="Arial" panose="020B0604020202020204" pitchFamily="34" charset="0"/>
              <a:buNone/>
            </a:pPr>
            <a:r>
              <a:rPr lang="en-US" dirty="0"/>
              <a:t>Reference : </a:t>
            </a:r>
            <a:r>
              <a:rPr lang="en-US" dirty="0">
                <a:hlinkClick r:id="rId3"/>
              </a:rPr>
              <a:t>https://support.microsoft.com/en-us/help/224453/inf-understanding-and-resolving-sql-server-blocking-problems</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1</a:t>
            </a:fld>
            <a:endParaRPr lang="en-US" noProof="0" dirty="0"/>
          </a:p>
        </p:txBody>
      </p:sp>
    </p:spTree>
    <p:extLst>
      <p:ext uri="{BB962C8B-B14F-4D97-AF65-F5344CB8AC3E}">
        <p14:creationId xmlns:p14="http://schemas.microsoft.com/office/powerpoint/2010/main" val="34039808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381762" lvl="1" indent="-171450">
              <a:buFont typeface="Arial" panose="020B0604020202020204" pitchFamily="34" charset="0"/>
              <a:buChar char="•"/>
            </a:pPr>
            <a:r>
              <a:rPr lang="en-US" dirty="0"/>
              <a:t>Compile blocking is when sql goes thru the creation of execution plan then you are compiling. That means you have </a:t>
            </a:r>
            <a:r>
              <a:rPr lang="en-US" b="1" dirty="0"/>
              <a:t>blocking on the metdata to the option which you touch. </a:t>
            </a:r>
            <a:r>
              <a:rPr lang="en-US" dirty="0"/>
              <a:t>This is required so that data structure can’t be changed in middle of transaction.</a:t>
            </a:r>
          </a:p>
          <a:p>
            <a:pPr lvl="2"/>
            <a:r>
              <a:rPr lang="en-US" dirty="0">
                <a:solidFill>
                  <a:schemeClr val="accent4"/>
                </a:solidFill>
              </a:rPr>
              <a:t>sys.dm_exec_requests</a:t>
            </a:r>
            <a:r>
              <a:rPr lang="en-US" dirty="0"/>
              <a:t>: </a:t>
            </a:r>
            <a:r>
              <a:rPr lang="en-US" b="1" dirty="0"/>
              <a:t>wait_resource=‘[COMPILE]’</a:t>
            </a:r>
          </a:p>
          <a:p>
            <a:pPr lvl="2"/>
            <a:r>
              <a:rPr lang="en-US" dirty="0">
                <a:solidFill>
                  <a:schemeClr val="accent4"/>
                </a:solidFill>
              </a:rPr>
              <a:t>sys.dm_tran_locks</a:t>
            </a:r>
            <a:r>
              <a:rPr lang="en-US" dirty="0"/>
              <a:t>: </a:t>
            </a:r>
            <a:r>
              <a:rPr lang="en-US" b="1" dirty="0"/>
              <a:t>resource_type=‘OBJECT’, resource_subtype=‘COMPIL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1" dirty="0"/>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Use block threshold report to check the blocking…..for this would suggest to use sp_configure to change the default threshold.</a:t>
            </a:r>
          </a:p>
          <a:p>
            <a:pPr lvl="1"/>
            <a:endParaRPr lang="en-US" dirty="0"/>
          </a:p>
          <a:p>
            <a:pPr marL="381762" lvl="1" indent="-171450">
              <a:buFont typeface="Arial" panose="020B0604020202020204" pitchFamily="34" charset="0"/>
              <a:buChar char="•"/>
            </a:pPr>
            <a:r>
              <a:rPr lang="en-US" dirty="0"/>
              <a:t>Compile blocking appears as blocked requests waiting on a COMPILE resource in </a:t>
            </a:r>
            <a:r>
              <a:rPr lang="en-US" b="1" dirty="0"/>
              <a:t>sys.dm_exec_requests.wait_resource</a:t>
            </a:r>
            <a:r>
              <a:rPr lang="en-US" dirty="0"/>
              <a:t> and </a:t>
            </a:r>
            <a:r>
              <a:rPr lang="en-US" b="1" dirty="0"/>
              <a:t>sys.dm_tran_locks</a:t>
            </a:r>
            <a:r>
              <a:rPr lang="en-US" dirty="0"/>
              <a:t>. </a:t>
            </a:r>
          </a:p>
          <a:p>
            <a:pPr marL="381762" lvl="1" indent="-171450">
              <a:buFont typeface="Arial" panose="020B0604020202020204" pitchFamily="34" charset="0"/>
              <a:buChar char="•"/>
            </a:pPr>
            <a:r>
              <a:rPr lang="en-US" dirty="0"/>
              <a:t>In addition, </a:t>
            </a:r>
            <a:r>
              <a:rPr lang="en-US" u="sng" dirty="0"/>
              <a:t>there may be a large number of SQL Profiler </a:t>
            </a:r>
            <a:r>
              <a:rPr lang="en-US" b="1" u="sng" dirty="0"/>
              <a:t>SP:Recompile</a:t>
            </a:r>
            <a:r>
              <a:rPr lang="en-US" u="sng" dirty="0"/>
              <a:t> events in the trace</a:t>
            </a:r>
            <a:r>
              <a:rPr lang="en-US" dirty="0"/>
              <a:t>. </a:t>
            </a:r>
            <a:r>
              <a:rPr lang="en-US" u="sng" dirty="0"/>
              <a:t>Compile blocking will usually cause </a:t>
            </a:r>
            <a:r>
              <a:rPr lang="en-US" i="1" u="sng" dirty="0"/>
              <a:t>rolling blocking</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dirty="0"/>
              <a:t>Rolling blocking means that the blocked requests at the end of the chain may have to wait a long time, but no single blocker remains at the head of the chain for long. </a:t>
            </a:r>
            <a:r>
              <a:rPr lang="en-US" b="1" dirty="0"/>
              <a:t>Other symptoms may include high CPU utilization because compilation is CPU-intensive</a:t>
            </a:r>
            <a:r>
              <a:rPr lang="en-US" dirty="0"/>
              <a:t>. </a:t>
            </a:r>
          </a:p>
          <a:p>
            <a:pPr marL="381762" lvl="1" indent="-171450">
              <a:buFont typeface="Arial" panose="020B0604020202020204" pitchFamily="34" charset="0"/>
              <a:buChar char="•"/>
            </a:pPr>
            <a:endParaRPr lang="en-US" dirty="0"/>
          </a:p>
          <a:p>
            <a:pPr marL="381762" lvl="1" indent="-171450">
              <a:buFont typeface="Arial" panose="020B0604020202020204" pitchFamily="34" charset="0"/>
              <a:buChar char="•"/>
            </a:pPr>
            <a:r>
              <a:rPr lang="en-US" u="sng" dirty="0"/>
              <a:t>Compilation should be 10% of batch request/seconds. Recompilation should be 10% of compilation</a:t>
            </a:r>
            <a:r>
              <a:rPr lang="en-US" dirty="0"/>
              <a:t>. If those numbers are fine then we are good.</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endParaRPr lang="en-US" dirty="0"/>
          </a:p>
          <a:p>
            <a:r>
              <a:rPr lang="en-US" dirty="0"/>
              <a:t>In SQL Server, only one copy of a stored procedure plan is generally cached at a time, so stored procedure compilation attempts are serialized. </a:t>
            </a:r>
            <a:r>
              <a:rPr lang="en-US" b="1" dirty="0"/>
              <a:t>If a commonly used stored procedure must be frequently recompiled (for example, cursor on a temp table), it is possible for this stored procedure to cause blocking as one request waits on another to finish compilation</a:t>
            </a:r>
            <a:r>
              <a:rPr lang="en-US" b="0" dirty="0"/>
              <a:t>.</a:t>
            </a:r>
            <a:r>
              <a:rPr lang="en-US" b="1" dirty="0"/>
              <a:t> </a:t>
            </a:r>
          </a:p>
          <a:p>
            <a:pPr lvl="0"/>
            <a:r>
              <a:rPr lang="en-US" dirty="0"/>
              <a:t>In this situation, you can do one of the following: </a:t>
            </a:r>
          </a:p>
          <a:p>
            <a:pPr lvl="1"/>
            <a:r>
              <a:rPr lang="en-US" dirty="0"/>
              <a:t>Reduce recompile frequency. </a:t>
            </a:r>
          </a:p>
          <a:p>
            <a:pPr lvl="1"/>
            <a:r>
              <a:rPr lang="en-US" dirty="0"/>
              <a:t>Owner-qualify stored procedures. </a:t>
            </a:r>
          </a:p>
          <a:p>
            <a:r>
              <a:rPr lang="en-US" dirty="0"/>
              <a:t>During name resolution, when the owner of the procedure is not specified, SQL Server first looks for a procedure owned by that user. If SQL Server cannot find this procedure</a:t>
            </a:r>
            <a:r>
              <a:rPr lang="en-US" b="1" dirty="0"/>
              <a:t>, it then checks for an object owned by Database Owner (dbo)</a:t>
            </a:r>
            <a:r>
              <a:rPr lang="en-US" b="0" dirty="0"/>
              <a:t>.</a:t>
            </a:r>
            <a:r>
              <a:rPr lang="en-US" b="1" dirty="0"/>
              <a:t> </a:t>
            </a:r>
          </a:p>
          <a:p>
            <a:r>
              <a:rPr lang="en-US" dirty="0"/>
              <a:t>For example, if the user Joe runs a procedure </a:t>
            </a:r>
            <a:r>
              <a:rPr lang="en-US" b="1" dirty="0"/>
              <a:t>Proc1 owned by dbo</a:t>
            </a:r>
            <a:r>
              <a:rPr lang="en-US" dirty="0"/>
              <a:t>, during name resolution, SQL Server will </a:t>
            </a:r>
            <a:r>
              <a:rPr lang="en-US" b="1" dirty="0"/>
              <a:t>first check for the procedure Joe.Proc1</a:t>
            </a:r>
            <a:r>
              <a:rPr lang="en-US" dirty="0"/>
              <a:t>. If SQL Server does not find this procedure, </a:t>
            </a:r>
            <a:r>
              <a:rPr lang="en-US" b="1" dirty="0"/>
              <a:t>it will then look for the procedure dbo.Proc1</a:t>
            </a:r>
            <a:r>
              <a:rPr lang="en-US" b="0" dirty="0"/>
              <a:t>.</a:t>
            </a:r>
            <a:r>
              <a:rPr lang="en-US" b="1" dirty="0"/>
              <a:t> </a:t>
            </a:r>
          </a:p>
          <a:p>
            <a:endParaRPr lang="en-US" dirty="0"/>
          </a:p>
          <a:p>
            <a:pPr marL="228600" indent="-228600">
              <a:buFont typeface="+mj-lt"/>
              <a:buAutoNum type="arabicPeriod"/>
            </a:pPr>
            <a:r>
              <a:rPr lang="en-US" u="sng" dirty="0"/>
              <a:t>During the process of looking for a procedure where the owner name is not qualified and the initial lookup by user fails, SQL Server acquires an exclusive compile lock on the procedure</a:t>
            </a:r>
            <a:r>
              <a:rPr lang="en-US" dirty="0"/>
              <a:t>. </a:t>
            </a:r>
          </a:p>
          <a:p>
            <a:pPr marL="228600" indent="-228600">
              <a:buFont typeface="+mj-lt"/>
              <a:buAutoNum type="arabicPeriod"/>
            </a:pPr>
            <a:r>
              <a:rPr lang="en-US" dirty="0"/>
              <a:t>A second lookup is made in cache to see if a procedure owned by dbo can be found, while this lock is in place. </a:t>
            </a:r>
          </a:p>
          <a:p>
            <a:pPr marL="228600" indent="-228600">
              <a:buFont typeface="+mj-lt"/>
              <a:buAutoNum type="arabicPeriod"/>
            </a:pPr>
            <a:r>
              <a:rPr lang="en-US" dirty="0"/>
              <a:t>If a usable copy of the compile plan is found in cache, the procedure is not recompiled. </a:t>
            </a:r>
          </a:p>
          <a:p>
            <a:endParaRPr lang="en-US" dirty="0"/>
          </a:p>
          <a:p>
            <a:endParaRPr lang="en-US" b="1"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521090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ort transactions </a:t>
            </a:r>
          </a:p>
          <a:p>
            <a:pPr lvl="1"/>
            <a:r>
              <a:rPr lang="en-US" dirty="0"/>
              <a:t>Avoid user interaction in transactions, and keep transactions as short as possible and in a single batch. </a:t>
            </a:r>
          </a:p>
          <a:p>
            <a:r>
              <a:rPr lang="en-US" b="1" dirty="0"/>
              <a:t>Handling cancellations and errors with care </a:t>
            </a:r>
          </a:p>
          <a:p>
            <a:pPr lvl="1"/>
            <a:r>
              <a:rPr lang="en-US" dirty="0"/>
              <a:t>If the application (or any stored procedures that the application invokes) starts any transactions, the application is responsible for rolling back any active transactions (IF @@TRANCOUNT&gt;0 ROLLBACK TRAN) when any error or query timeout occurs. The application should not assume that an arbitrary error would abort the transaction. A query timeout never aborts transactions automatically. </a:t>
            </a:r>
          </a:p>
          <a:p>
            <a:r>
              <a:rPr lang="en-US" b="1" dirty="0"/>
              <a:t>Proper indexing </a:t>
            </a:r>
          </a:p>
          <a:p>
            <a:pPr lvl="1"/>
            <a:r>
              <a:rPr lang="en-US" dirty="0"/>
              <a:t>On a table where inserts and updates are common, create a clustered index. Inserts into a heap should not cause a hotspot issue, but they can be much slower than inserts into the same table with a clustered index due to contention on Page Free Space (PFS) (longer transactions = greater chance of blocking). In general, the best column for a clustered index is often an identity column. </a:t>
            </a:r>
          </a:p>
          <a:p>
            <a:pPr lvl="1"/>
            <a:r>
              <a:rPr lang="en-US" b="1" dirty="0"/>
              <a:t>Avoid placing a </a:t>
            </a:r>
            <a:r>
              <a:rPr lang="en-US" b="1" u="sng" dirty="0"/>
              <a:t>clustered index </a:t>
            </a:r>
            <a:r>
              <a:rPr lang="en-US" b="1" dirty="0"/>
              <a:t>on columns that are frequently updated</a:t>
            </a:r>
            <a:r>
              <a:rPr lang="en-US" dirty="0"/>
              <a:t>. Updates to clustered index key columns will require locks on the clustered index, data pages (to move the row), and all non-clustered indexes (because non-clustered indexes point to rows via the clustered index key</a:t>
            </a:r>
            <a:r>
              <a:rPr lang="en-US" b="1" dirty="0"/>
              <a:t>). Consider using a clustered index on an identity column or a column with similar properties, such as small data values or constantly increasing values with very infrequent modifications. </a:t>
            </a:r>
          </a:p>
          <a:p>
            <a:pPr lvl="1"/>
            <a:r>
              <a:rPr lang="en-US" u="sng" dirty="0"/>
              <a:t>Analyze indexing for possible improvements</a:t>
            </a:r>
            <a:r>
              <a:rPr lang="en-US" dirty="0"/>
              <a:t>. Poor indexes mean more pages visited, more locks acquired, and longer-running transactions (all these contribute to blocking, and in general, may increase the chances of deadlocking). Use the Database Engine Tuning Advisor (DTA) on related queries. </a:t>
            </a:r>
          </a:p>
          <a:p>
            <a:pPr lvl="1"/>
            <a:r>
              <a:rPr lang="en-US" u="sng" dirty="0"/>
              <a:t>Remove indexes that have extremely low selectivity</a:t>
            </a:r>
            <a:r>
              <a:rPr lang="en-US" dirty="0"/>
              <a:t>. For example, if an indexed column on a large table only has 10 distinct values, a KEY lock on the index can effectively prevent updates to this column for 10 percent of the rows in the table.</a:t>
            </a:r>
            <a:endParaRPr lang="en-GB" dirty="0"/>
          </a:p>
          <a:p>
            <a:endParaRPr lang="en-US" dirty="0"/>
          </a:p>
          <a:p>
            <a:r>
              <a:rPr lang="en-US" b="1" dirty="0"/>
              <a:t>Beware of implicit transactions </a:t>
            </a:r>
            <a:endParaRPr lang="en-US" dirty="0"/>
          </a:p>
          <a:p>
            <a:pPr lvl="1"/>
            <a:r>
              <a:rPr lang="en-US" dirty="0"/>
              <a:t>With implicit transactions on, every time you make a modification, you get a transaction started automatically that you must commit yourself. Many modifications do not need to be part of a larger transaction. The improper use of implicit transaction tends to end up with two undesirable outcomes: </a:t>
            </a:r>
          </a:p>
          <a:p>
            <a:pPr lvl="2"/>
            <a:r>
              <a:rPr lang="en-US" dirty="0"/>
              <a:t>The developer forgets about the open transaction and leaves it open across modifications, which spans much more work than required by the business needs. Longer transactions than necessary mean more locks held, greater chance of deadlock or blocking, and so on. </a:t>
            </a:r>
          </a:p>
          <a:p>
            <a:pPr lvl="2"/>
            <a:r>
              <a:rPr lang="en-US" dirty="0"/>
              <a:t>The developer does the right thing and commits the implicit transaction after every unit of work. But this requires an extra round-trip to the server to send the COMMIT command, while autocommit (the opposite of implicit transactions) could have accomplished the same thing with a single query and a single round-trip. Also, because implicit transactions cause every command to open a transaction, the danger due to the coding mistakes that lead to orphaned transactions is increased. </a:t>
            </a:r>
          </a:p>
          <a:p>
            <a:pPr lvl="1"/>
            <a:r>
              <a:rPr lang="en-US" dirty="0"/>
              <a:t>Therefore, it is important to be careful when using implicit transaction to avoid losing track of transaction nesting. </a:t>
            </a:r>
          </a:p>
          <a:p>
            <a:pPr lvl="0"/>
            <a:r>
              <a:rPr lang="en-US" b="1" dirty="0"/>
              <a:t>Use as low an isolation level as possible </a:t>
            </a:r>
            <a:endParaRPr lang="en-US" dirty="0"/>
          </a:p>
          <a:p>
            <a:pPr lvl="1"/>
            <a:r>
              <a:rPr lang="en-US" dirty="0"/>
              <a:t>Higher transaction isolation levels (such as SERIALIZABLE) hold more locks for a longer period of time. Microsoft Transaction Server always sets the transaction isolation level to SERIALIZABLE. You can change this either by using the SET TRANSACTION  ISOLATION LEVEL command or on a query-by-query basis with a READ COMMITTED query hint.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Minimize Blocking in SQL Server</a:t>
            </a:r>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dirty="0">
                <a:hlinkClick r:id="rId3"/>
              </a:rPr>
              <a:t>https://docs.microsoft.com/en-us/previous-versions/technet-magazine/cc434694(v=msdn.10)?redirectedfrom=MSDN</a:t>
            </a:r>
            <a:endParaRPr lang="en-US" dirty="0"/>
          </a:p>
          <a:p>
            <a:pPr marL="173028" lvl="1" indent="0">
              <a:buNone/>
            </a:pPr>
            <a:endParaRPr lang="en-US" b="1" dirty="0"/>
          </a:p>
          <a:p>
            <a:pPr marL="173028" lvl="1" indent="0">
              <a:buNone/>
            </a:pPr>
            <a:r>
              <a:rPr lang="en-US" b="1" dirty="0"/>
              <a:t>For more information</a:t>
            </a:r>
            <a:r>
              <a:rPr lang="en-US" dirty="0"/>
              <a:t>, see: </a:t>
            </a:r>
            <a:r>
              <a:rPr lang="en-US" b="1" dirty="0"/>
              <a:t>SQL Server: Transaction Management</a:t>
            </a:r>
            <a:r>
              <a:rPr lang="en-US" dirty="0"/>
              <a:t> </a:t>
            </a:r>
          </a:p>
          <a:p>
            <a:pPr marL="173028" lvl="1" indent="0">
              <a:buNone/>
            </a:pPr>
            <a:r>
              <a:rPr lang="en-US" dirty="0"/>
              <a:t> </a:t>
            </a:r>
            <a:r>
              <a:rPr lang="en-US" dirty="0">
                <a:hlinkClick r:id="rId4"/>
              </a:rPr>
              <a:t>https://docs.microsoft.com/en-us/previous-versions/technet-magazine/hh750281(v=msdn.10)?redirectedfrom=MSD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dirty="0"/>
          </a:p>
        </p:txBody>
      </p:sp>
    </p:spTree>
    <p:extLst>
      <p:ext uri="{BB962C8B-B14F-4D97-AF65-F5344CB8AC3E}">
        <p14:creationId xmlns:p14="http://schemas.microsoft.com/office/powerpoint/2010/main" val="5164752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M04L05Demo01</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E:\Demos\M04L05Demo01</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00" b="0" dirty="0">
                <a:solidFill>
                  <a:srgbClr val="008000"/>
                </a:solidFill>
                <a:latin typeface="Consolas"/>
              </a:rPr>
              <a:t>Use View_Blocking_1,View_Blocking_2, View_Blocking_3 in that order to create a lock and see it with the DMVs</a:t>
            </a:r>
            <a:r>
              <a:rPr lang="en-US" sz="800" b="1" dirty="0">
                <a:solidFill>
                  <a:srgbClr val="008000"/>
                </a:solidFill>
                <a:latin typeface="Consolas"/>
              </a:rPr>
              <a:t>.</a:t>
            </a:r>
            <a:endParaRPr lang="en-US" sz="800" dirty="0">
              <a:solidFill>
                <a:srgbClr val="008000"/>
              </a:solidFill>
              <a:latin typeface="Consola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003066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dirty="0"/>
              <a:t>Occurs when two or more tasks permanently block each other by having a lock on a resource that the other tasks are trying to access. </a:t>
            </a:r>
          </a:p>
          <a:p>
            <a:pPr lvl="1"/>
            <a:endParaRPr lang="en-US" dirty="0"/>
          </a:p>
          <a:p>
            <a:pPr lvl="1"/>
            <a:r>
              <a:rPr lang="en-US" b="1" dirty="0"/>
              <a:t>SQL Server always resolves deadlocking by choosing a victim and therefore, breaking the cycle</a:t>
            </a:r>
            <a:r>
              <a:rPr lang="en-US" dirty="0"/>
              <a:t>. </a:t>
            </a:r>
            <a:r>
              <a:rPr lang="en-US" u="sng" dirty="0"/>
              <a:t>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pPr marL="210312" marR="0" lvl="1"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baseline="0" dirty="0"/>
              <a:t>Distributed deadlocks usually occur when one of the locked resources resides outside SQL Server (or on another SQL Server).</a:t>
            </a:r>
            <a:endParaRPr lang="en-US" dirty="0"/>
          </a:p>
          <a:p>
            <a:pPr lvl="1"/>
            <a:endParaRPr lang="en-US" dirty="0"/>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endParaRPr lang="en-US" dirty="0"/>
          </a:p>
          <a:p>
            <a:pPr lvl="0"/>
            <a:r>
              <a:rPr lang="en-US" dirty="0"/>
              <a:t>What is a deadlock? </a:t>
            </a:r>
          </a:p>
          <a:p>
            <a:pPr marL="100584" lvl="1" indent="0">
              <a:buNone/>
            </a:pPr>
            <a:r>
              <a:rPr lang="en-US" dirty="0"/>
              <a:t>A deadlock exists when the following four conditions exist simultaneously: </a:t>
            </a:r>
          </a:p>
          <a:p>
            <a:pPr lvl="2"/>
            <a:r>
              <a:rPr lang="en-US" dirty="0"/>
              <a:t>No pre-emption.</a:t>
            </a:r>
          </a:p>
          <a:p>
            <a:pPr lvl="2"/>
            <a:r>
              <a:rPr lang="en-US" dirty="0"/>
              <a:t>Incremental allocation of resources (Locks are acquired as needed, rather than acquiring them all before beginning the transaction).</a:t>
            </a:r>
          </a:p>
          <a:p>
            <a:pPr lvl="2"/>
            <a:r>
              <a:rPr lang="en-US" dirty="0"/>
              <a:t>Incompatible use of resources (Here, compatibility refers to the one defined in our lock compatibility table).</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b="1" dirty="0"/>
              <a:t>To understand this better, consider the following examples: </a:t>
            </a:r>
          </a:p>
          <a:p>
            <a:pPr lvl="1"/>
            <a:r>
              <a:rPr lang="en-US" dirty="0"/>
              <a:t>You might address a deadlock between two tables by making sure that you access the two tables in the same order. A key-RID deadlock caused by a SELECT and UPDATE or two updates may be addressed either by converting a non-clustered index to a clustered index, where practical, or by using a lock earlier strategy in the transaction. </a:t>
            </a:r>
          </a:p>
          <a:p>
            <a:pPr lvl="1"/>
            <a:r>
              <a:rPr lang="en-US" dirty="0"/>
              <a:t>A deadlock can also be caused by two updates that are expensive enough that they go parallel. Therefore, you do not have a guarantee that the two rows in the same table are accessed in the same order. You may resolve such a deadlock by adding an appropriate index so that the update can be performed more efficiently, without getting a parallel execution plan. </a:t>
            </a:r>
          </a:p>
          <a:p>
            <a:pPr lvl="1"/>
            <a:r>
              <a:rPr lang="en-US" dirty="0"/>
              <a:t>A deadlock involving two rows on the same table with an application that uses positioned updates may be resolved by the use of an </a:t>
            </a:r>
            <a:r>
              <a:rPr lang="en-US" b="1" dirty="0"/>
              <a:t>order by</a:t>
            </a:r>
            <a:r>
              <a:rPr lang="en-US" dirty="0"/>
              <a:t>. </a:t>
            </a:r>
          </a:p>
          <a:p>
            <a:pPr lvl="0"/>
            <a:r>
              <a:rPr lang="en-US" dirty="0"/>
              <a:t>References</a:t>
            </a:r>
          </a:p>
          <a:p>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dirty="0"/>
          </a:p>
        </p:txBody>
      </p:sp>
    </p:spTree>
    <p:extLst>
      <p:ext uri="{BB962C8B-B14F-4D97-AF65-F5344CB8AC3E}">
        <p14:creationId xmlns:p14="http://schemas.microsoft.com/office/powerpoint/2010/main" val="454945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deadlock? </a:t>
            </a:r>
          </a:p>
          <a:p>
            <a:pPr lvl="1"/>
            <a:r>
              <a:rPr lang="en-US" dirty="0"/>
              <a:t>A deadlock exists when the following four conditions exist simultaneously: </a:t>
            </a:r>
          </a:p>
          <a:p>
            <a:pPr lvl="2"/>
            <a:r>
              <a:rPr lang="en-US" dirty="0"/>
              <a:t>No pre-emption </a:t>
            </a:r>
          </a:p>
          <a:p>
            <a:pPr lvl="2"/>
            <a:r>
              <a:rPr lang="en-US" dirty="0"/>
              <a:t>Incremental allocation of resources (Locks are acquired as needed, rather than acquiring them all before beginning the transaction) </a:t>
            </a:r>
          </a:p>
          <a:p>
            <a:pPr lvl="2"/>
            <a:r>
              <a:rPr lang="en-US" dirty="0"/>
              <a:t>Incompatible use of resources (Here, compatibility refers to the one defined in our lock compatibility table) </a:t>
            </a:r>
          </a:p>
          <a:p>
            <a:pPr lvl="2"/>
            <a:r>
              <a:rPr lang="en-US" dirty="0"/>
              <a:t>Cycle 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 </a:t>
            </a:r>
          </a:p>
          <a:p>
            <a:pPr lvl="0"/>
            <a:r>
              <a:rPr lang="en-US" dirty="0"/>
              <a:t>Deadlocking is not specific to SQL Server or even to relational databases. Any system that must manage shared resources among multiple users, threads, or processes may be susceptible to deadlocks. </a:t>
            </a:r>
          </a:p>
          <a:p>
            <a:pPr lvl="0"/>
            <a:r>
              <a:rPr lang="en-US" dirty="0"/>
              <a:t>Each user session might have one or more tasks running on its behalf where each task might acquire or wait to acquire a variety of resources. The following types of resources can cause blocking that could result in a deadlock: </a:t>
            </a:r>
          </a:p>
          <a:p>
            <a:pPr lvl="1"/>
            <a:r>
              <a:rPr lang="en-US" dirty="0"/>
              <a:t>Locks </a:t>
            </a:r>
          </a:p>
          <a:p>
            <a:pPr lvl="1"/>
            <a:r>
              <a:rPr lang="en-US" dirty="0"/>
              <a:t>Worker threads </a:t>
            </a:r>
          </a:p>
          <a:p>
            <a:pPr lvl="1"/>
            <a:r>
              <a:rPr lang="en-US" dirty="0"/>
              <a:t>Memory</a:t>
            </a:r>
          </a:p>
          <a:p>
            <a:pPr lvl="1"/>
            <a:r>
              <a:rPr lang="en-US" dirty="0"/>
              <a:t>Parallel query execution-related resources </a:t>
            </a:r>
          </a:p>
          <a:p>
            <a:pPr lvl="1"/>
            <a:r>
              <a:rPr lang="en-US" dirty="0"/>
              <a:t>Multiple Active Result Sets (MARS) resources </a:t>
            </a:r>
          </a:p>
          <a:p>
            <a:pPr lvl="0"/>
            <a:r>
              <a:rPr lang="en-US" dirty="0"/>
              <a:t>SQL Server always resolves deadlocking by choosing a victim and therefore, breaking the cycle. Most often, you can address deadlocking by using methods such as a </a:t>
            </a:r>
            <a:r>
              <a:rPr lang="en-US" b="1" dirty="0"/>
              <a:t>nolock</a:t>
            </a:r>
            <a:r>
              <a:rPr lang="en-US" dirty="0"/>
              <a:t> hint to address a deadlocking situation with item 2 in the list above (worker threads), you first need to understand what is being locked and in what order. </a:t>
            </a:r>
          </a:p>
          <a:p>
            <a:endParaRPr lang="en-US" dirty="0"/>
          </a:p>
        </p:txBody>
      </p:sp>
      <p:sp>
        <p:nvSpPr>
          <p:cNvPr id="8" name="Footer Placeholder 4"/>
          <p:cNvSpPr>
            <a:spLocks noGrp="1"/>
          </p:cNvSpPr>
          <p:nvPr/>
        </p:nvSpPr>
        <p:spPr>
          <a:xfrm>
            <a:off x="-642259" y="8788036"/>
            <a:ext cx="9144001" cy="355964"/>
          </a:xfrm>
          <a:prstGeom prst="rect">
            <a:avLst/>
          </a:prstGeom>
        </p:spPr>
        <p:txBody>
          <a:bodyPr vert="horz" lIns="91440" tIns="45720" rIns="91440" bIns="45720" rtlCol="0" anchor="b"/>
          <a:lstStyle>
            <a:defPPr>
              <a:defRPr lang="en-US"/>
            </a:defPPr>
            <a:lvl1pPr marL="571500" indent="0" algn="l" defTabSz="932742" rtl="0" eaLnBrk="1" latinLnBrk="0" hangingPunct="1">
              <a:defRPr sz="12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Microsoft Confidential	                                                 </a:t>
            </a:r>
            <a:fld id="{502014C1-82EA-4B06-955D-F9A8DAE2AF54}" type="slidenum">
              <a:rPr kumimoji="0" lang="en-US" sz="10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pPr marL="571500" marR="0" lvl="0" indent="0" algn="l" defTabSz="914099" rtl="0" eaLnBrk="0" fontAlgn="auto" latinLnBrk="0" hangingPunct="0">
                <a:lnSpc>
                  <a:spcPct val="100000"/>
                </a:lnSpc>
                <a:spcBef>
                  <a:spcPts val="0"/>
                </a:spcBef>
                <a:spcAft>
                  <a:spcPts val="0"/>
                </a:spcAft>
                <a:buClrTx/>
                <a:buSzTx/>
                <a:buFontTx/>
                <a:buNone/>
                <a:tabLst/>
                <a:defRPr/>
              </a:pPr>
              <a:t>66</a:t>
            </a:fld>
            <a:endParaRPr kumimoji="0" lang="en-US" sz="10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826883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1"/>
            <a:r>
              <a:rPr lang="en-US" b="1" dirty="0"/>
              <a:t>Deadlock detection is performed by a lock monitor thread that periodically initiates a search through all of the tasks in an instance of the Database Engine</a:t>
            </a:r>
            <a:r>
              <a:rPr lang="en-US" dirty="0"/>
              <a:t>. </a:t>
            </a:r>
          </a:p>
          <a:p>
            <a:pPr lvl="1"/>
            <a:r>
              <a:rPr lang="en-US" dirty="0"/>
              <a:t>The following points describe the search process:</a:t>
            </a:r>
          </a:p>
          <a:p>
            <a:pPr lvl="2"/>
            <a:r>
              <a:rPr lang="en-US" dirty="0"/>
              <a:t>The default interval is 5 seconds.</a:t>
            </a:r>
          </a:p>
          <a:p>
            <a:pPr lvl="2"/>
            <a:r>
              <a:rPr lang="en-US" dirty="0"/>
              <a:t>If the </a:t>
            </a:r>
            <a:r>
              <a:rPr lang="en-US" b="1" dirty="0"/>
              <a:t>lock monitor thread finds deadlocks</a:t>
            </a:r>
            <a:r>
              <a:rPr lang="en-US" dirty="0"/>
              <a:t>, the </a:t>
            </a:r>
            <a:r>
              <a:rPr lang="en-US" u="sng" dirty="0"/>
              <a:t>deadlock detection interval will drop from 5 seconds to as low as 100 milliseconds depending on the frequency of deadlocks.</a:t>
            </a:r>
          </a:p>
          <a:p>
            <a:pPr lvl="2"/>
            <a:r>
              <a:rPr lang="en-US" u="sng" dirty="0"/>
              <a:t>If the lock monitor thread stops finding deadlocks</a:t>
            </a:r>
            <a:r>
              <a:rPr lang="en-US" dirty="0"/>
              <a:t>, the Database Engine increases the intervals between searches to 5 seconds.</a:t>
            </a:r>
          </a:p>
          <a:p>
            <a:pPr lvl="2"/>
            <a:r>
              <a:rPr lang="en-US" u="sng" dirty="0"/>
              <a:t>If a deadlock has just been detected, it is assumed that the next threads that must wait for a lock are entering the deadlock cycle. </a:t>
            </a:r>
          </a:p>
          <a:p>
            <a:pPr lvl="2"/>
            <a:r>
              <a:rPr lang="en-US" dirty="0"/>
              <a:t>The first couple of lock waits after a deadlock has been detected will immediately trigger a deadlock search rather than wait for the next deadlock detection interval. For example, </a:t>
            </a:r>
            <a:r>
              <a:rPr lang="en-US" b="1" dirty="0"/>
              <a:t>if the current interval is 5 seconds, and a deadlock was just detected, the next lock wait will kick off the deadlock detector immediately</a:t>
            </a:r>
            <a:r>
              <a:rPr lang="en-US" dirty="0"/>
              <a:t>. If this lock wait is part of a deadlock, it will be detected right away rather than during next deadlock search.</a:t>
            </a:r>
          </a:p>
          <a:p>
            <a:pPr marL="329184" marR="0" lvl="2" indent="-109728"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Char char=""/>
              <a:tabLst/>
              <a:defRPr/>
            </a:pPr>
            <a:r>
              <a:rPr lang="en-US" dirty="0"/>
              <a:t>Profile – Deadlock graph report</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90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900" dirty="0">
                <a:latin typeface="Segoe UI" panose="020B0502040204020203" pitchFamily="34" charset="0"/>
                <a:cs typeface="Segoe UI" panose="020B0502040204020203" pitchFamily="34" charset="0"/>
              </a:rPr>
              <a:t>===============</a:t>
            </a:r>
          </a:p>
          <a:p>
            <a:pPr lvl="0"/>
            <a:r>
              <a:rPr lang="en-US" dirty="0"/>
              <a:t>The Database Engine typically performs periodic deadlock detection only. Because the number of deadlocks encountered in the system is usually small, periodic deadlock detection helps to reduce the overhead of deadlock detection in the system.</a:t>
            </a:r>
          </a:p>
          <a:p>
            <a:pPr lvl="0"/>
            <a:r>
              <a:rPr lang="en-US" dirty="0"/>
              <a:t>When the lock monitor initiates deadlock search for a particular thread, it identifies the resource on which the thread is waiting. The lock monitor then finds the owner(s) for that particular resource and recursively continues the deadlock search for those threads until it finds a cycle. A cycle identified in this manner forms a deadlock.</a:t>
            </a:r>
          </a:p>
          <a:p>
            <a:pPr lvl="0"/>
            <a:r>
              <a:rPr lang="en-US" u="sng" dirty="0"/>
              <a:t>After a deadlock is detected, the Database Engine ends a deadlock by choosing one of the threads as a deadlock victim. </a:t>
            </a:r>
            <a:r>
              <a:rPr lang="en-US" dirty="0"/>
              <a:t>The Database Engine terminates the current batch being run for the thread, rolls back the transaction of the deadlock victim, and returns a </a:t>
            </a:r>
            <a:r>
              <a:rPr lang="en-US" u="sng" dirty="0"/>
              <a:t>1205 error to the application</a:t>
            </a:r>
            <a:r>
              <a:rPr lang="en-US" dirty="0"/>
              <a:t>. </a:t>
            </a:r>
          </a:p>
          <a:p>
            <a:pPr lvl="0"/>
            <a:r>
              <a:rPr lang="en-US" dirty="0"/>
              <a:t>Rolling back the transaction for the deadlock victim releases all locks held by the transaction. This allows the transactions of the other threads to become unblocked and continue. The 1205 deadlock victim error records information about the threads and resources involved in a deadlock in the error log.</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dirty="0"/>
          </a:p>
        </p:txBody>
      </p:sp>
    </p:spTree>
    <p:extLst>
      <p:ext uri="{BB962C8B-B14F-4D97-AF65-F5344CB8AC3E}">
        <p14:creationId xmlns:p14="http://schemas.microsoft.com/office/powerpoint/2010/main" val="14132522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you can use  system_health xevent session and  Deadlock Graph tab. </a:t>
            </a:r>
          </a:p>
          <a:p>
            <a:endParaRPr lang="en-US" dirty="0"/>
          </a:p>
          <a:p>
            <a:r>
              <a:rPr lang="en-US" dirty="0"/>
              <a:t>Starting in Microsoft SQL Server 2008, the deadlock graph can be extracted from the system_health extended event session using the following query:</a:t>
            </a:r>
          </a:p>
          <a:p>
            <a:endParaRPr lang="en-US" dirty="0"/>
          </a:p>
          <a:p>
            <a:pPr marL="173028" lvl="1" indent="0">
              <a:buNone/>
            </a:pP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data/value)[1]'</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max)'</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eadlockGraph</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FROM</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SELEC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FF"/>
                </a:solidFill>
                <a:latin typeface="Consolas" panose="020B0609020204030204" pitchFamily="49" charset="0"/>
                <a:cs typeface="Consolas" panose="020B0609020204030204" pitchFamily="49" charset="0"/>
              </a:rPr>
              <a:t>CA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target_data</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xml</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FROM</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_targe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JOI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00"/>
                </a:solidFill>
                <a:latin typeface="Consolas" panose="020B0609020204030204" pitchFamily="49" charset="0"/>
                <a:cs typeface="Consolas" panose="020B0609020204030204" pitchFamily="49" charset="0"/>
              </a:rPr>
              <a:t>sy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00"/>
                </a:solidFill>
                <a:latin typeface="Consolas" panose="020B0609020204030204" pitchFamily="49" charset="0"/>
                <a:cs typeface="Consolas" panose="020B0609020204030204" pitchFamily="49" charset="0"/>
              </a:rPr>
              <a:t>dm_xe_session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on</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00FF"/>
                </a:solidFill>
                <a:latin typeface="Consolas" panose="020B0609020204030204" pitchFamily="49" charset="0"/>
                <a:cs typeface="Consolas" panose="020B0609020204030204" pitchFamily="49" charset="0"/>
              </a:rPr>
              <a:t>addre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s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event_session_address</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  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nam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system_health'</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Data</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808080"/>
                </a:solidFill>
                <a:latin typeface="Consolas" panose="020B0609020204030204" pitchFamily="49" charset="0"/>
                <a:cs typeface="Consolas" panose="020B0609020204030204" pitchFamily="49" charset="0"/>
              </a:rPr>
              <a:t>  CROS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PPLY</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Targe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nodes</a:t>
            </a: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RingBufferTarget/event'</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00FF"/>
                </a:solidFill>
                <a:latin typeface="Consolas" panose="020B0609020204030204" pitchFamily="49" charset="0"/>
                <a:cs typeface="Consolas" panose="020B0609020204030204" pitchFamily="49" charset="0"/>
              </a:rPr>
              <a:t>AS</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0000FF"/>
                </a:solidFill>
                <a:latin typeface="Consolas" panose="020B0609020204030204" pitchFamily="49" charset="0"/>
                <a:cs typeface="Consolas" panose="020B0609020204030204" pitchFamily="49" charset="0"/>
              </a:rPr>
              <a:t> </a:t>
            </a:r>
          </a:p>
          <a:p>
            <a:pPr marL="173028" lvl="1" indent="0">
              <a:buNone/>
            </a:pPr>
            <a:r>
              <a:rPr lang="en-US" b="1" dirty="0">
                <a:solidFill>
                  <a:srgbClr val="0000FF"/>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endParaRPr lang="en-US" b="1" dirty="0">
              <a:solidFill>
                <a:prstClr val="black"/>
              </a:solidFill>
              <a:latin typeface="Consolas" panose="020B0609020204030204" pitchFamily="49" charset="0"/>
              <a:cs typeface="Consolas" panose="020B0609020204030204" pitchFamily="49" charset="0"/>
            </a:endParaRPr>
          </a:p>
          <a:p>
            <a:pPr marL="173028" lvl="1" indent="0">
              <a:buNone/>
            </a:pPr>
            <a:r>
              <a:rPr lang="en-US" b="1" dirty="0">
                <a:solidFill>
                  <a:srgbClr val="0000FF"/>
                </a:solidFill>
                <a:latin typeface="Consolas" panose="020B0609020204030204" pitchFamily="49" charset="0"/>
                <a:cs typeface="Consolas" panose="020B0609020204030204" pitchFamily="49" charset="0"/>
              </a:rPr>
              <a:t>WHERE</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008080"/>
                </a:solidFill>
                <a:latin typeface="Consolas" panose="020B0609020204030204" pitchFamily="49" charset="0"/>
                <a:cs typeface="Consolas" panose="020B0609020204030204" pitchFamily="49" charset="0"/>
              </a:rPr>
              <a:t>XEventData</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XEvent</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008080"/>
                </a:solidFill>
                <a:latin typeface="Consolas" panose="020B0609020204030204" pitchFamily="49" charset="0"/>
                <a:cs typeface="Consolas" panose="020B0609020204030204" pitchFamily="49" charset="0"/>
              </a:rPr>
              <a:t>value</a:t>
            </a:r>
            <a:r>
              <a:rPr lang="en-US" b="1" dirty="0">
                <a:solidFill>
                  <a:srgbClr val="808080"/>
                </a:solidFill>
                <a:latin typeface="Consolas" panose="020B0609020204030204" pitchFamily="49" charset="0"/>
                <a:cs typeface="Consolas" panose="020B0609020204030204" pitchFamily="49" charset="0"/>
              </a:rPr>
              <a:t>(</a:t>
            </a:r>
            <a:r>
              <a:rPr lang="en-US" b="1" dirty="0">
                <a:solidFill>
                  <a:srgbClr val="FF0000"/>
                </a:solidFill>
                <a:latin typeface="Consolas" panose="020B0609020204030204" pitchFamily="49" charset="0"/>
                <a:cs typeface="Consolas" panose="020B0609020204030204" pitchFamily="49" charset="0"/>
              </a:rPr>
              <a:t>'@name'</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varchar(4000)'</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808080"/>
                </a:solidFill>
                <a:latin typeface="Consolas" panose="020B0609020204030204" pitchFamily="49" charset="0"/>
                <a:cs typeface="Consolas" panose="020B0609020204030204" pitchFamily="49" charset="0"/>
              </a:rPr>
              <a:t>=</a:t>
            </a:r>
            <a:r>
              <a:rPr lang="en-US" b="1" dirty="0">
                <a:solidFill>
                  <a:prstClr val="black"/>
                </a:solidFill>
                <a:latin typeface="Consolas" panose="020B0609020204030204" pitchFamily="49" charset="0"/>
                <a:cs typeface="Consolas" panose="020B0609020204030204" pitchFamily="49" charset="0"/>
              </a:rPr>
              <a:t> </a:t>
            </a:r>
            <a:r>
              <a:rPr lang="en-US" b="1" dirty="0">
                <a:solidFill>
                  <a:srgbClr val="FF0000"/>
                </a:solidFill>
                <a:latin typeface="Consolas" panose="020B0609020204030204" pitchFamily="49" charset="0"/>
                <a:cs typeface="Consolas" panose="020B0609020204030204" pitchFamily="49" charset="0"/>
              </a:rPr>
              <a:t>'xml_deadlock_report</a:t>
            </a:r>
            <a:r>
              <a:rPr lang="en-US" dirty="0">
                <a:solidFill>
                  <a:srgbClr val="FF0000"/>
                </a:solidFill>
                <a:latin typeface="Consolas" panose="020B0609020204030204" pitchFamily="49" charset="0"/>
                <a:cs typeface="Consolas" panose="020B0609020204030204" pitchFamily="49" charset="0"/>
              </a:rPr>
              <a:t>'</a:t>
            </a:r>
          </a:p>
          <a:p>
            <a:endParaRPr lang="en-US" dirty="0"/>
          </a:p>
          <a:p>
            <a:r>
              <a:rPr lang="en-US" dirty="0"/>
              <a:t>You can extract this data and save it as an .xdl file which can be viewed graphically in Microsoft SQL Server 2014 Management Studio. On a SQL Server 2014 instance, you can view the deadlock graph directly from SQL Server Management Studio without having to run the above query:  </a:t>
            </a:r>
          </a:p>
          <a:p>
            <a:pPr marL="401628" lvl="1" indent="-228600">
              <a:buFont typeface="+mj-lt"/>
              <a:buAutoNum type="arabicPeriod"/>
            </a:pPr>
            <a:r>
              <a:rPr lang="en-US" dirty="0"/>
              <a:t>In the </a:t>
            </a:r>
            <a:r>
              <a:rPr lang="en-US" b="1" dirty="0"/>
              <a:t>Object Explorer</a:t>
            </a:r>
            <a:r>
              <a:rPr lang="en-US" dirty="0"/>
              <a:t>, go to </a:t>
            </a:r>
            <a:r>
              <a:rPr lang="en-US" b="1" dirty="0"/>
              <a:t>Management</a:t>
            </a:r>
            <a:r>
              <a:rPr lang="en-US" dirty="0"/>
              <a:t> &gt; </a:t>
            </a:r>
            <a:r>
              <a:rPr lang="en-US" b="1" dirty="0"/>
              <a:t>Extended Events</a:t>
            </a:r>
            <a:r>
              <a:rPr lang="en-US" dirty="0"/>
              <a:t> &gt; </a:t>
            </a:r>
            <a:r>
              <a:rPr lang="en-US" b="1" dirty="0"/>
              <a:t>system_health</a:t>
            </a:r>
            <a:r>
              <a:rPr lang="en-US" b="0" dirty="0"/>
              <a:t>.</a:t>
            </a:r>
            <a:r>
              <a:rPr lang="en-US" dirty="0"/>
              <a:t> </a:t>
            </a:r>
          </a:p>
          <a:p>
            <a:pPr marL="401628" lvl="1" indent="-228600">
              <a:buFont typeface="+mj-lt"/>
              <a:buAutoNum type="arabicPeriod"/>
            </a:pPr>
            <a:r>
              <a:rPr lang="en-US" dirty="0"/>
              <a:t>Right-click </a:t>
            </a:r>
            <a:r>
              <a:rPr lang="en-US" b="1" dirty="0"/>
              <a:t>package0.event_file</a:t>
            </a:r>
            <a:r>
              <a:rPr lang="en-US" dirty="0"/>
              <a:t> and choose </a:t>
            </a:r>
            <a:r>
              <a:rPr lang="en-US" b="1" dirty="0"/>
              <a:t>View Target Data</a:t>
            </a:r>
            <a:r>
              <a:rPr lang="en-US" dirty="0"/>
              <a:t>. Scroll through the events until you find an </a:t>
            </a:r>
            <a:r>
              <a:rPr lang="en-US" b="1" u="sng" dirty="0"/>
              <a:t>xml_deadlock_report</a:t>
            </a:r>
            <a:r>
              <a:rPr lang="en-US" u="sng" dirty="0"/>
              <a:t> </a:t>
            </a:r>
            <a:r>
              <a:rPr lang="en-US" dirty="0"/>
              <a:t>event. </a:t>
            </a:r>
          </a:p>
          <a:p>
            <a:pPr marL="401628" lvl="1" indent="-228600">
              <a:buFont typeface="+mj-lt"/>
              <a:buAutoNum type="arabicPeriod"/>
            </a:pPr>
            <a:r>
              <a:rPr lang="en-US" dirty="0"/>
              <a:t>Highlight the event and click the </a:t>
            </a:r>
            <a:r>
              <a:rPr lang="en-US" b="1" dirty="0"/>
              <a:t>Deadlock</a:t>
            </a:r>
            <a:r>
              <a:rPr lang="en-US" dirty="0"/>
              <a:t> tab to view the graph.</a:t>
            </a:r>
          </a:p>
          <a:p>
            <a:pPr lvl="1"/>
            <a:r>
              <a:rPr lang="en-US" dirty="0"/>
              <a:t>This is an event in SQL Server Profiler that presents a graphical depiction of the tasks and resources involved in a deadlock. </a:t>
            </a:r>
          </a:p>
          <a:p>
            <a:endParaRPr lang="en-US" b="1" dirty="0"/>
          </a:p>
          <a:p>
            <a:r>
              <a:rPr lang="en-US" b="1" dirty="0"/>
              <a:t>References:</a:t>
            </a:r>
            <a:endParaRPr lang="en-US" dirty="0"/>
          </a:p>
          <a:p>
            <a:pPr marL="173028" lvl="1" indent="0">
              <a:buNone/>
            </a:pPr>
            <a:r>
              <a:rPr lang="en-US" b="1" dirty="0"/>
              <a:t>For more information</a:t>
            </a:r>
            <a:r>
              <a:rPr lang="en-US" dirty="0"/>
              <a:t>, see: </a:t>
            </a:r>
            <a:r>
              <a:rPr lang="en-US" b="1" dirty="0"/>
              <a:t>Detecting and Ending Deadlocks</a:t>
            </a:r>
            <a:r>
              <a:rPr lang="en-US" dirty="0"/>
              <a:t> – </a:t>
            </a:r>
            <a:endParaRPr lang="en-US" u="sng" dirty="0"/>
          </a:p>
          <a:p>
            <a:pPr marL="173028" lvl="1" indent="0">
              <a:buNone/>
            </a:pPr>
            <a:r>
              <a:rPr lang="en-US" dirty="0">
                <a:hlinkClick r:id="rId3"/>
              </a:rPr>
              <a:t>https://docs.microsoft.com/en-us/previous-versions/sql/sql-server-2008-r2/ms178104(v=sql.105)</a:t>
            </a:r>
            <a:endParaRPr lang="en-US" b="1" dirty="0"/>
          </a:p>
          <a:p>
            <a:pPr marL="173028" lvl="1" indent="0">
              <a:buNone/>
            </a:pPr>
            <a:r>
              <a:rPr lang="en-US" b="1" dirty="0"/>
              <a:t>For more information</a:t>
            </a:r>
            <a:r>
              <a:rPr lang="en-US" dirty="0"/>
              <a:t>, see: </a:t>
            </a:r>
            <a:r>
              <a:rPr lang="en-US" b="1" dirty="0"/>
              <a:t>An XEvent a Day (13 of 31) – The system_health Session</a:t>
            </a:r>
            <a:r>
              <a:rPr lang="en-US" dirty="0"/>
              <a:t> </a:t>
            </a:r>
          </a:p>
          <a:p>
            <a:pPr marL="173028" lvl="1" indent="0">
              <a:buNone/>
            </a:pPr>
            <a:r>
              <a:rPr lang="en-US" dirty="0"/>
              <a:t> </a:t>
            </a:r>
            <a:r>
              <a:rPr lang="en-US" u="sng" dirty="0">
                <a:hlinkClick r:id="rId4"/>
              </a:rPr>
              <a:t>http://www.sqlskills.com/blogs/jonathan/post/An-XEvent-a-Day-(13-of-31)-The-system_health-Session.aspx</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dirty="0"/>
          </a:p>
        </p:txBody>
      </p:sp>
    </p:spTree>
    <p:extLst>
      <p:ext uri="{BB962C8B-B14F-4D97-AF65-F5344CB8AC3E}">
        <p14:creationId xmlns:p14="http://schemas.microsoft.com/office/powerpoint/2010/main" val="8011870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view deadlock information, </a:t>
            </a:r>
            <a:r>
              <a:rPr lang="en-US" b="1" dirty="0"/>
              <a:t>the Database Engine provides monitoring tools in the form of trace flag 1222 </a:t>
            </a:r>
            <a:r>
              <a:rPr lang="en-US" b="0" dirty="0"/>
              <a:t>de</a:t>
            </a:r>
            <a:r>
              <a:rPr lang="en-US" dirty="0"/>
              <a:t>adlock information in error log</a:t>
            </a:r>
          </a:p>
          <a:p>
            <a:r>
              <a:rPr lang="en-US" dirty="0"/>
              <a:t>1204 disclose the information at node level.</a:t>
            </a:r>
          </a:p>
          <a:p>
            <a:endParaRPr lang="en-US" b="1" dirty="0"/>
          </a:p>
          <a:p>
            <a:r>
              <a:rPr lang="en-US" b="1" dirty="0"/>
              <a:t>References:</a:t>
            </a:r>
          </a:p>
          <a:p>
            <a:endParaRPr lang="en-US" dirty="0"/>
          </a:p>
          <a:p>
            <a:pPr marL="173028" marR="0" lvl="1" indent="0" algn="l" defTabSz="914400" rtl="0" eaLnBrk="1" fontAlgn="auto" latinLnBrk="0" hangingPunct="1">
              <a:lnSpc>
                <a:spcPct val="90000"/>
              </a:lnSpc>
              <a:spcBef>
                <a:spcPts val="333"/>
              </a:spcBef>
              <a:spcAft>
                <a:spcPts val="0"/>
              </a:spcAft>
              <a:buClr>
                <a:schemeClr val="tx1"/>
              </a:buClr>
              <a:buSzPct val="90000"/>
              <a:buFont typeface="Wingdings" panose="05000000000000000000" pitchFamily="2" charset="2"/>
              <a:buNone/>
              <a:tabLst/>
              <a:defRPr/>
            </a:pPr>
            <a:r>
              <a:rPr lang="en-US" b="1" dirty="0"/>
              <a:t>For more information</a:t>
            </a:r>
            <a:r>
              <a:rPr lang="en-US" dirty="0"/>
              <a:t>, see: </a:t>
            </a:r>
            <a:r>
              <a:rPr lang="en-US" b="1" dirty="0"/>
              <a:t>Detecting and Ending Deadlocks</a:t>
            </a:r>
            <a:r>
              <a:rPr lang="en-US" dirty="0"/>
              <a:t> - </a:t>
            </a:r>
            <a:r>
              <a:rPr lang="en-US" dirty="0">
                <a:hlinkClick r:id="rId3"/>
              </a:rPr>
              <a:t>https://docs.microsoft.com/en-us/previous-versions/sql/sql-server-2008-r2/ms178104(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dirty="0"/>
          </a:p>
        </p:txBody>
      </p:sp>
    </p:spTree>
    <p:extLst>
      <p:ext uri="{BB962C8B-B14F-4D97-AF65-F5344CB8AC3E}">
        <p14:creationId xmlns:p14="http://schemas.microsoft.com/office/powerpoint/2010/main" val="26020562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Key points:</a:t>
            </a:r>
          </a:p>
          <a:p>
            <a:pPr lvl="0"/>
            <a:endParaRPr lang="en-US" b="1" dirty="0"/>
          </a:p>
          <a:p>
            <a:pPr lvl="0"/>
            <a:r>
              <a:rPr lang="en-US" b="1" dirty="0"/>
              <a:t>Use snapshot isolation i.e. optimistic locking</a:t>
            </a:r>
          </a:p>
          <a:p>
            <a:pPr lvl="0"/>
            <a:r>
              <a:rPr lang="en-US" dirty="0"/>
              <a:t>Although deadlocks cannot be completely avoided, following certain coding conventions can minimize the chance of generating a deadlock. Minimizing deadlocks can increase transaction throughput and reduce system overhead because fewer transactions are:</a:t>
            </a:r>
          </a:p>
          <a:p>
            <a:pPr lvl="1"/>
            <a:r>
              <a:rPr lang="en-US" dirty="0"/>
              <a:t>Rolled back, undoing all the work performed by the transaction.</a:t>
            </a:r>
          </a:p>
          <a:p>
            <a:pPr lvl="1"/>
            <a:r>
              <a:rPr lang="en-US" dirty="0"/>
              <a:t>Resubmitted by applications because they were rolled back when deadlocked.</a:t>
            </a:r>
          </a:p>
          <a:p>
            <a:pPr lvl="0"/>
            <a:r>
              <a:rPr lang="en-US" dirty="0"/>
              <a:t>To help minimize deadlocks:</a:t>
            </a:r>
          </a:p>
          <a:p>
            <a:pPr lvl="1"/>
            <a:r>
              <a:rPr lang="en-US" dirty="0"/>
              <a:t>Access objects in the same order.</a:t>
            </a:r>
          </a:p>
          <a:p>
            <a:pPr lvl="1"/>
            <a:r>
              <a:rPr lang="en-US" dirty="0"/>
              <a:t>Avoid user interaction in transactions.</a:t>
            </a:r>
          </a:p>
          <a:p>
            <a:pPr lvl="1"/>
            <a:r>
              <a:rPr lang="en-US" dirty="0"/>
              <a:t>Keep transactions short and in one batch.</a:t>
            </a:r>
          </a:p>
          <a:p>
            <a:pPr lvl="1"/>
            <a:r>
              <a:rPr lang="en-US" dirty="0"/>
              <a:t>Use a lower isolation level.</a:t>
            </a:r>
          </a:p>
          <a:p>
            <a:pPr lvl="1"/>
            <a:r>
              <a:rPr lang="en-US" dirty="0"/>
              <a:t>Use a row versioning-based isolation level.</a:t>
            </a:r>
          </a:p>
          <a:p>
            <a:pPr lvl="2"/>
            <a:r>
              <a:rPr lang="en-US" dirty="0"/>
              <a:t>Set </a:t>
            </a:r>
            <a:r>
              <a:rPr lang="en-US" b="1" dirty="0"/>
              <a:t>READ_COMMITTED_SNAPSHOT</a:t>
            </a:r>
            <a:r>
              <a:rPr lang="en-US" dirty="0"/>
              <a:t> database option </a:t>
            </a:r>
            <a:r>
              <a:rPr lang="en-US" i="1" dirty="0"/>
              <a:t>ON</a:t>
            </a:r>
            <a:r>
              <a:rPr lang="en-US" dirty="0"/>
              <a:t> to enable read-committed transactions to use row versioning.</a:t>
            </a:r>
          </a:p>
          <a:p>
            <a:pPr lvl="2"/>
            <a:r>
              <a:rPr lang="en-US" dirty="0"/>
              <a:t>Use snapshot isolation.</a:t>
            </a:r>
          </a:p>
          <a:p>
            <a:pPr lvl="1"/>
            <a:r>
              <a:rPr lang="en-US" dirty="0"/>
              <a:t>Use bound connections.</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100584" lvl="1" indent="0">
              <a:buNone/>
            </a:pPr>
            <a:endParaRPr lang="en-US" dirty="0"/>
          </a:p>
          <a:p>
            <a:pPr lvl="0"/>
            <a:r>
              <a:rPr lang="en-US" b="1" dirty="0"/>
              <a:t>Access Objects in the Same Order</a:t>
            </a:r>
            <a:endParaRPr lang="en-US" dirty="0"/>
          </a:p>
          <a:p>
            <a:pPr lvl="1"/>
            <a:r>
              <a:rPr lang="en-US" u="sng" dirty="0"/>
              <a:t>If all concurrent transactions access objects in the same order, deadlocks are less likely to occur. </a:t>
            </a:r>
          </a:p>
          <a:p>
            <a:pPr marL="210312" lvl="1" indent="-101006">
              <a:buNone/>
            </a:pPr>
            <a:r>
              <a:rPr lang="en-US" u="none" dirty="0"/>
              <a:t>   </a:t>
            </a:r>
            <a:r>
              <a:rPr lang="en-US" dirty="0"/>
              <a:t>For example, if two concurrent transactions obtain a lock on the Supplier table and then on the Part table, one transaction is blocked on the Supplier table until the other transaction is completed. </a:t>
            </a:r>
          </a:p>
          <a:p>
            <a:pPr marL="109306" lvl="1" indent="0">
              <a:buNone/>
            </a:pPr>
            <a:r>
              <a:rPr lang="en-US" dirty="0"/>
              <a:t>After the </a:t>
            </a:r>
            <a:r>
              <a:rPr lang="en-US" u="sng" dirty="0"/>
              <a:t>first transaction commits or rolls back</a:t>
            </a:r>
            <a:r>
              <a:rPr lang="en-US" dirty="0"/>
              <a:t>, the second continues, </a:t>
            </a:r>
            <a:r>
              <a:rPr lang="en-US" b="1" dirty="0"/>
              <a:t>and a deadlock does not occur</a:t>
            </a:r>
            <a:r>
              <a:rPr lang="en-US" dirty="0"/>
              <a:t>. </a:t>
            </a:r>
          </a:p>
          <a:p>
            <a:pPr marL="109306" lvl="1" indent="0">
              <a:buNone/>
            </a:pPr>
            <a:r>
              <a:rPr lang="en-US" dirty="0"/>
              <a:t> Using stored procedures for all data modifications can standardize the order of accessing objects.</a:t>
            </a:r>
          </a:p>
          <a:p>
            <a:pPr lvl="0"/>
            <a:r>
              <a:rPr lang="en-US" b="1" dirty="0"/>
              <a:t>Avoid User Interaction in Transactions</a:t>
            </a:r>
            <a:endParaRPr lang="en-US" dirty="0"/>
          </a:p>
          <a:p>
            <a:pPr lvl="1"/>
            <a:r>
              <a:rPr lang="en-US" u="sng" dirty="0"/>
              <a:t>Avoid writing transactions that include user interaction</a:t>
            </a:r>
            <a:r>
              <a:rPr lang="en-US" dirty="0"/>
              <a:t>, because the speed of batches running without user intervention is much faster than the speed at which a user must manually respond to queries, such as replying to a prompt for a parameter requested by an application. For example, if a transaction is waiting for user input and the user goes to lunch or even home for the weekend, the user delays the transaction from completing. This degrades system throughput because any locks held by the transaction are released only when the transaction is committed or rolled back. Even if a deadlock situation does not arise, other </a:t>
            </a:r>
            <a:r>
              <a:rPr lang="en-GB" dirty="0"/>
              <a:t>transactions accessing the same resources are blocked while waiting for the transaction to comple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0</a:t>
            </a:fld>
            <a:endParaRPr lang="en-US" noProof="0" dirty="0"/>
          </a:p>
        </p:txBody>
      </p:sp>
    </p:spTree>
    <p:extLst>
      <p:ext uri="{BB962C8B-B14F-4D97-AF65-F5344CB8AC3E}">
        <p14:creationId xmlns:p14="http://schemas.microsoft.com/office/powerpoint/2010/main" val="18532797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20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4L05Demo02</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4L05Demo02</a:t>
            </a:r>
          </a:p>
          <a:p>
            <a:pPr lvl="0" defTabSz="914460">
              <a:lnSpc>
                <a:spcPct val="90000"/>
              </a:lnSpc>
              <a:spcAft>
                <a:spcPts val="333"/>
              </a:spcAft>
              <a:defRPr/>
            </a:pPr>
            <a:r>
              <a:rPr lang="en-US" sz="882" noProof="1">
                <a:solidFill>
                  <a:prstClr val="black"/>
                </a:solidFill>
                <a:latin typeface="Segoe UI Light" pitchFamily="34" charset="0"/>
              </a:rPr>
              <a:t>Use Convert_Deadlock_1.sql and Convert_Deadlock_2.sql to </a:t>
            </a:r>
            <a:r>
              <a:rPr lang="en-US" dirty="0"/>
              <a:t>to create a deadlock and demonstrated deadlock graph using system health event.</a:t>
            </a:r>
            <a:endParaRPr lang="en-US" sz="882" noProof="1">
              <a:solidFill>
                <a:prstClr val="black"/>
              </a:solidFill>
              <a:latin typeface="Segoe UI Light" pitchFamily="34" charset="0"/>
            </a:endParaRP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a:p>
            <a:pPr lvl="0" defTabSz="914460">
              <a:lnSpc>
                <a:spcPct val="90000"/>
              </a:lnSpc>
              <a:spcAft>
                <a:spcPts val="333"/>
              </a:spcAft>
            </a:pPr>
            <a:endParaRPr lang="en-US" sz="882" dirty="0">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1080268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882" noProof="1">
                <a:solidFill>
                  <a:prstClr val="black"/>
                </a:solidFill>
                <a:latin typeface="Segoe UI Light" pitchFamily="34" charset="0"/>
              </a:rPr>
              <a:t>M04L05Lab01</a:t>
            </a:r>
            <a:endParaRPr lang="en-US" dirty="0"/>
          </a:p>
          <a:p>
            <a:endParaRPr lang="en-US" dirty="0"/>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r>
              <a:rPr lang="en-US" sz="882" b="0" kern="1200" baseline="0" dirty="0">
                <a:solidFill>
                  <a:schemeClr val="tx1"/>
                </a:solidFill>
                <a:effectLst/>
                <a:latin typeface="+mn-lt"/>
                <a:ea typeface="+mn-ea"/>
                <a:cs typeface="+mn-cs"/>
              </a:rPr>
              <a:t>Identifying Blocking:</a:t>
            </a:r>
          </a:p>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pPr marL="228600" marR="0" lvl="0" indent="-228600" algn="l" defTabSz="914400" rtl="0" eaLnBrk="1" fontAlgn="auto" latinLnBrk="0" hangingPunct="1">
              <a:lnSpc>
                <a:spcPct val="90000"/>
              </a:lnSpc>
              <a:spcBef>
                <a:spcPts val="333"/>
              </a:spcBef>
              <a:spcAft>
                <a:spcPts val="0"/>
              </a:spcAft>
              <a:buClrTx/>
              <a:buSzTx/>
              <a:buFontTx/>
              <a:buAutoNum type="arabicPeriod"/>
              <a:tabLst/>
              <a:defRPr/>
            </a:pPr>
            <a:endParaRPr lang="en-US" sz="882" b="0" kern="1200" baseline="0" dirty="0">
              <a:solidFill>
                <a:schemeClr val="tx1"/>
              </a:solidFill>
              <a:effectLst/>
              <a:latin typeface="+mn-lt"/>
              <a:ea typeface="+mn-ea"/>
              <a:cs typeface="+mn-cs"/>
            </a:endParaRPr>
          </a:p>
          <a:p>
            <a:r>
              <a:rPr lang="en-US" dirty="0"/>
              <a:t>2. </a:t>
            </a:r>
            <a:r>
              <a:rPr lang="en-US" sz="882" kern="1200" baseline="0" dirty="0">
                <a:solidFill>
                  <a:schemeClr val="tx1"/>
                </a:solidFill>
                <a:effectLst/>
                <a:latin typeface="+mn-lt"/>
                <a:ea typeface="+mn-ea"/>
                <a:cs typeface="+mn-cs"/>
              </a:rPr>
              <a:t>Identifying Deadlocks:</a:t>
            </a:r>
            <a:r>
              <a:rPr lang="en-US" dirty="0"/>
              <a:t> </a:t>
            </a:r>
          </a:p>
          <a:p>
            <a:pPr marL="342900" indent="-342900">
              <a:buFont typeface="Arial" panose="020B0604020202020204" pitchFamily="34" charset="0"/>
              <a:buChar char="•"/>
            </a:pPr>
            <a:r>
              <a:rPr lang="en-US" dirty="0"/>
              <a:t>Observe the deadlock details in the SQL error log.</a:t>
            </a:r>
          </a:p>
          <a:p>
            <a:pPr marL="342900" indent="-342900">
              <a:buFont typeface="Arial" panose="020B0604020202020204" pitchFamily="34" charset="0"/>
              <a:buChar char="•"/>
            </a:pPr>
            <a:r>
              <a:rPr lang="en-US" dirty="0"/>
              <a:t>Analyze deadlocks from the deadlock graph extended event collected by the system_health session.</a:t>
            </a:r>
          </a:p>
          <a:p>
            <a:pPr marL="342900" indent="-342900">
              <a:buFont typeface="Arial" panose="020B0604020202020204" pitchFamily="34" charset="0"/>
              <a:buChar char="•"/>
            </a:pPr>
            <a:r>
              <a:rPr lang="en-US" dirty="0"/>
              <a:t>Solve common deadlock issue by adjust code logic.</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53954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1: </a:t>
            </a:r>
            <a:r>
              <a:rPr lang="en-US" sz="900" dirty="0"/>
              <a:t>How is a deadlock detected?</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1: </a:t>
            </a:r>
            <a:r>
              <a:rPr lang="en-US" dirty="0"/>
              <a:t>Deadlock detection is performed by a lock monitor thread that periodically initiates a search through all of the tasks in an instance of the Database Engine.</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dirty="0"/>
              <a:t>Q2: </a:t>
            </a:r>
            <a:r>
              <a:rPr lang="en-US" sz="900" dirty="0"/>
              <a:t>How should a deadlock be handled in an application?</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US" sz="900" dirty="0"/>
              <a:t>A2: </a:t>
            </a:r>
            <a:r>
              <a:rPr lang="en-US" dirty="0"/>
              <a:t>Because any application submitting Transact-SQL queries can be chosen as the deadlock victim, applications should have an error handler that can trap error message 1205. If an application does not trap the error, the application can proceed unaware that its transaction has been rolled back and errors can occur.</a:t>
            </a:r>
          </a:p>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endParaRPr lang="en-US" dirty="0"/>
          </a:p>
          <a:p>
            <a:pPr marL="100584" lvl="1" indent="0">
              <a:buFont typeface="+mj-lt"/>
              <a:buNone/>
            </a:pPr>
            <a:r>
              <a:rPr lang="en-US" dirty="0"/>
              <a:t>Q3: </a:t>
            </a:r>
            <a:r>
              <a:rPr lang="en-US" sz="900" dirty="0"/>
              <a:t>What trace flags are used in a deadlock analysis?</a:t>
            </a:r>
          </a:p>
          <a:p>
            <a:pPr marL="100584" lvl="1" indent="0">
              <a:buFont typeface="+mj-lt"/>
              <a:buNone/>
            </a:pPr>
            <a:r>
              <a:rPr lang="en-US" sz="900" dirty="0"/>
              <a:t>A3: </a:t>
            </a:r>
            <a:r>
              <a:rPr lang="en-US" dirty="0"/>
              <a:t>1204 (for Microsoft SQL Server 2000) and 1222 (for Microsoft SQL Server 2005 and later versions).</a:t>
            </a:r>
          </a:p>
          <a:p>
            <a:pPr marL="100584" lvl="1" indent="0">
              <a:buFont typeface="+mj-lt"/>
              <a:buNone/>
            </a:pPr>
            <a:endParaRPr lang="en-US" dirty="0"/>
          </a:p>
          <a:p>
            <a:pPr marL="100584" lvl="1" indent="0">
              <a:buFont typeface="+mj-lt"/>
              <a:buNone/>
            </a:pPr>
            <a:r>
              <a:rPr lang="en-US" sz="1100" dirty="0"/>
              <a:t>Q4: What is the Extended Event used in a deadlock analysis?</a:t>
            </a:r>
          </a:p>
          <a:p>
            <a:pPr marL="100584" lvl="1" indent="0">
              <a:buFont typeface="+mj-lt"/>
              <a:buNone/>
            </a:pPr>
            <a:r>
              <a:rPr lang="en-US" sz="1100" dirty="0"/>
              <a:t>A4: xml_deadlock_report</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dirty="0"/>
          </a:p>
        </p:txBody>
      </p:sp>
    </p:spTree>
    <p:extLst>
      <p:ext uri="{BB962C8B-B14F-4D97-AF65-F5344CB8AC3E}">
        <p14:creationId xmlns:p14="http://schemas.microsoft.com/office/powerpoint/2010/main" val="22629508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4</a:t>
            </a:fld>
            <a:endParaRPr lang="en-US" noProof="0" dirty="0"/>
          </a:p>
        </p:txBody>
      </p:sp>
    </p:spTree>
    <p:extLst>
      <p:ext uri="{BB962C8B-B14F-4D97-AF65-F5344CB8AC3E}">
        <p14:creationId xmlns:p14="http://schemas.microsoft.com/office/powerpoint/2010/main" val="3153238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Key Point:</a:t>
            </a:r>
          </a:p>
          <a:p>
            <a:endParaRPr lang="en-US" sz="900" b="1" i="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ON</a:t>
            </a:r>
            <a:r>
              <a:rPr lang="en-US" sz="900" b="0" i="0" kern="1200" dirty="0">
                <a:solidFill>
                  <a:schemeClr val="tx1"/>
                </a:solidFill>
                <a:effectLst/>
                <a:latin typeface="Segoe UI Light" pitchFamily="34" charset="0"/>
                <a:ea typeface="+mn-ea"/>
                <a:cs typeface="+mn-cs"/>
              </a:rPr>
              <a:t>, the system is in </a:t>
            </a:r>
            <a:r>
              <a:rPr lang="en-US" sz="900" b="0" i="1" kern="1200" dirty="0">
                <a:solidFill>
                  <a:schemeClr val="tx1"/>
                </a:solidFill>
                <a:effectLst/>
                <a:latin typeface="Segoe UI Light" pitchFamily="34" charset="0"/>
                <a:ea typeface="+mn-ea"/>
                <a:cs typeface="+mn-cs"/>
              </a:rPr>
              <a:t>implicit</a:t>
            </a:r>
            <a:r>
              <a:rPr lang="en-US" sz="900" b="0" i="0" kern="1200" dirty="0">
                <a:solidFill>
                  <a:schemeClr val="tx1"/>
                </a:solidFill>
                <a:effectLst/>
                <a:latin typeface="Segoe UI Light" pitchFamily="34" charset="0"/>
                <a:ea typeface="+mn-ea"/>
                <a:cs typeface="+mn-cs"/>
              </a:rPr>
              <a:t> transaction mode. This means that if @@TRANCOUNT = 0, any of the following Transact-SQL statements begins a new transaction. It is equivalent to an unseen BEGIN TRANSACTION being executed</a:t>
            </a:r>
          </a:p>
          <a:p>
            <a:pPr marL="171450"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IMPLICIT_TRANSACTIONS ON is not popular</a:t>
            </a:r>
            <a:r>
              <a:rPr lang="en-US" sz="900" b="0" i="0" kern="1200" dirty="0">
                <a:solidFill>
                  <a:schemeClr val="tx1"/>
                </a:solidFill>
                <a:effectLst/>
                <a:latin typeface="Segoe UI Light" pitchFamily="34" charset="0"/>
                <a:ea typeface="+mn-ea"/>
                <a:cs typeface="+mn-cs"/>
              </a:rPr>
              <a:t>. In most cases where IMPLICIT_TRANSACTIONS is </a:t>
            </a:r>
            <a:r>
              <a:rPr lang="en-US" sz="900" b="1" i="0" kern="1200" dirty="0">
                <a:solidFill>
                  <a:schemeClr val="tx1"/>
                </a:solidFill>
                <a:effectLst/>
                <a:latin typeface="Segoe UI Light" pitchFamily="34" charset="0"/>
                <a:ea typeface="+mn-ea"/>
                <a:cs typeface="+mn-cs"/>
              </a:rPr>
              <a:t>ON, it is because the choice of SET ANSI_DEFAULTS ON </a:t>
            </a:r>
            <a:r>
              <a:rPr lang="en-US" sz="900" b="0" i="0" kern="1200" dirty="0">
                <a:solidFill>
                  <a:schemeClr val="tx1"/>
                </a:solidFill>
                <a:effectLst/>
                <a:latin typeface="Segoe UI Light" pitchFamily="34" charset="0"/>
                <a:ea typeface="+mn-ea"/>
                <a:cs typeface="+mn-cs"/>
              </a:rPr>
              <a:t>has been made.</a:t>
            </a: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It </a:t>
            </a:r>
            <a:r>
              <a:rPr lang="en-US" sz="1050" b="1" dirty="0">
                <a:latin typeface="Segoe UI" panose="020B0502040204020203" pitchFamily="34" charset="0"/>
                <a:cs typeface="Segoe UI" panose="020B0502040204020203" pitchFamily="34" charset="0"/>
              </a:rPr>
              <a:t>leaves transaction open </a:t>
            </a:r>
            <a:r>
              <a:rPr lang="en-US" sz="1050" dirty="0">
                <a:latin typeface="Segoe UI" panose="020B0502040204020203" pitchFamily="34" charset="0"/>
                <a:cs typeface="Segoe UI" panose="020B0502040204020203" pitchFamily="34" charset="0"/>
              </a:rPr>
              <a:t>in SQL server until Commit/rollback is not used.</a:t>
            </a:r>
          </a:p>
          <a:p>
            <a:pPr marL="171450" indent="-171450">
              <a:buFont typeface="Arial" panose="020B0604020202020204" pitchFamily="34" charset="0"/>
              <a:buChar char="•"/>
            </a:pPr>
            <a:endParaRPr lang="en-US" sz="105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1050" b="1" i="1" dirty="0">
                <a:solidFill>
                  <a:srgbClr val="D83B01"/>
                </a:solidFill>
              </a:rPr>
              <a:t>Recommendations </a:t>
            </a:r>
            <a:r>
              <a:rPr lang="en-US" sz="1050" b="1" i="1" dirty="0">
                <a:solidFill>
                  <a:srgbClr val="0000FF"/>
                </a:solidFill>
              </a:rPr>
              <a:t>: </a:t>
            </a:r>
            <a:r>
              <a:rPr lang="en-US" sz="1050" dirty="0"/>
              <a:t>Don’t use Implicit transaction until required , Also if </a:t>
            </a:r>
            <a:r>
              <a:rPr lang="en-US" sz="1050" dirty="0">
                <a:solidFill>
                  <a:srgbClr val="0000FF"/>
                </a:solidFill>
              </a:rPr>
              <a:t>SET ANSI_DEFAULTS ON</a:t>
            </a:r>
            <a:r>
              <a:rPr lang="en-US" sz="1050" dirty="0"/>
              <a:t> used  in code then set it </a:t>
            </a:r>
            <a:r>
              <a:rPr lang="en-US" sz="1050" dirty="0">
                <a:solidFill>
                  <a:srgbClr val="0000FF"/>
                </a:solidFill>
              </a:rPr>
              <a:t>off</a:t>
            </a:r>
            <a:r>
              <a:rPr lang="en-US" sz="1050" dirty="0"/>
              <a:t> at end otherwise it will leave IMPLICIT TRANSACTION ON</a:t>
            </a:r>
            <a:endParaRPr lang="en-US" sz="1050" dirty="0">
              <a:solidFill>
                <a:srgbClr val="0000FF"/>
              </a:solidFill>
            </a:endParaRP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pPr marL="0" indent="0">
              <a:buFont typeface="Arial" panose="020B0604020202020204" pitchFamily="34" charset="0"/>
              <a:buNone/>
            </a:pPr>
            <a:r>
              <a:rPr lang="en-US" sz="1050" b="1" dirty="0">
                <a:latin typeface="Segoe UI" panose="020B0502040204020203" pitchFamily="34" charset="0"/>
                <a:cs typeface="Segoe UI" panose="020B0502040204020203" pitchFamily="34" charset="0"/>
              </a:rPr>
              <a:t>More Information</a:t>
            </a:r>
          </a:p>
          <a:p>
            <a:pPr marL="0" indent="0">
              <a:buFont typeface="Arial" panose="020B0604020202020204" pitchFamily="34" charset="0"/>
              <a:buNone/>
            </a:pPr>
            <a:r>
              <a:rPr lang="en-US" sz="1050" dirty="0">
                <a:latin typeface="Segoe UI" panose="020B0502040204020203" pitchFamily="34" charset="0"/>
                <a:cs typeface="Segoe UI" panose="020B0502040204020203" pitchFamily="34" charset="0"/>
              </a:rPr>
              <a:t>===============</a:t>
            </a:r>
          </a:p>
          <a:p>
            <a:r>
              <a:rPr lang="en-US" sz="1050" dirty="0">
                <a:latin typeface="Segoe UI" panose="020B0502040204020203" pitchFamily="34" charset="0"/>
                <a:cs typeface="Segoe UI" panose="020B0502040204020203" pitchFamily="34" charset="0"/>
              </a:rPr>
              <a:t>The Implicit transaction mode: </a:t>
            </a:r>
          </a:p>
          <a:p>
            <a:pPr lvl="1"/>
            <a:r>
              <a:rPr lang="en-US" sz="1050" dirty="0">
                <a:latin typeface="Segoe UI" panose="020B0502040204020203" pitchFamily="34" charset="0"/>
                <a:cs typeface="Segoe UI" panose="020B0502040204020203" pitchFamily="34" charset="0"/>
              </a:rPr>
              <a:t>SQL Server can automatically or, more precisely, implicitly starts a transaction for you if the SET IMPLICIT_TRANSACTIONS ON statement is run, or if the implicit transaction option is turned ON globally by running sp_configure user options 2. (The bit mask 0x2 must be turned ON for the user option, so you might have to perform an OR operation with the existing user option value. </a:t>
            </a:r>
          </a:p>
          <a:p>
            <a:pPr lvl="1"/>
            <a:r>
              <a:rPr lang="en-US" sz="1050" b="1" dirty="0">
                <a:latin typeface="Segoe UI" panose="020B0502040204020203" pitchFamily="34" charset="0"/>
                <a:cs typeface="Segoe UI" panose="020B0502040204020203" pitchFamily="34" charset="0"/>
              </a:rPr>
              <a:t>When a connection is operating in implicit transaction mode, the database engine automatically starts a new transaction after the current transaction is committed or rolled back. </a:t>
            </a:r>
            <a:r>
              <a:rPr lang="en-US" sz="1050" dirty="0">
                <a:latin typeface="Segoe UI" panose="020B0502040204020203" pitchFamily="34" charset="0"/>
                <a:cs typeface="Segoe UI" panose="020B0502040204020203" pitchFamily="34" charset="0"/>
              </a:rPr>
              <a:t>You do nothing to delineate the start of a transaction; you only commit or roll back each transaction. Implicit transaction mode generates a continuous chain of transactions.</a:t>
            </a:r>
          </a:p>
          <a:p>
            <a:pPr lvl="1"/>
            <a:r>
              <a:rPr lang="en-US" sz="1050" dirty="0">
                <a:latin typeface="Segoe UI" panose="020B0502040204020203" pitchFamily="34" charset="0"/>
                <a:cs typeface="Segoe UI" panose="020B0502040204020203" pitchFamily="34" charset="0"/>
              </a:rPr>
              <a:t>After implicit transaction mode has been set on for a connection, the instance of the Database Engine automatically starts a transaction when it first executes any of these statements.</a:t>
            </a:r>
          </a:p>
          <a:p>
            <a:pPr lvl="1"/>
            <a:r>
              <a:rPr lang="en-US" sz="1050" dirty="0">
                <a:latin typeface="Segoe UI" panose="020B0502040204020203" pitchFamily="34" charset="0"/>
                <a:cs typeface="Segoe UI" panose="020B0502040204020203" pitchFamily="34" charset="0"/>
              </a:rPr>
              <a:t>In most cases, it is best to work in Autocommit mode and </a:t>
            </a:r>
            <a:r>
              <a:rPr lang="en-US" sz="1050" b="1" dirty="0">
                <a:latin typeface="Segoe UI" panose="020B0502040204020203" pitchFamily="34" charset="0"/>
                <a:cs typeface="Segoe UI" panose="020B0502040204020203" pitchFamily="34" charset="0"/>
              </a:rPr>
              <a:t>define transactions explicitly using the BEGIN TRANSACTION statement</a:t>
            </a:r>
            <a:r>
              <a:rPr lang="en-US" sz="1050" dirty="0">
                <a:latin typeface="Segoe UI" panose="020B0502040204020203" pitchFamily="34" charset="0"/>
                <a:cs typeface="Segoe UI" panose="020B0502040204020203" pitchFamily="34" charset="0"/>
              </a:rPr>
              <a:t>. However for applications that were originally developed on systems other than SQL Server, the implicit transaction mode can be useful. </a:t>
            </a:r>
          </a:p>
          <a:p>
            <a:pPr lvl="1"/>
            <a:endParaRPr lang="en-US" sz="1050" b="1" dirty="0">
              <a:latin typeface="Segoe UI" panose="020B0502040204020203" pitchFamily="34" charset="0"/>
              <a:cs typeface="Segoe UI" panose="020B0502040204020203" pitchFamily="34" charset="0"/>
            </a:endParaRPr>
          </a:p>
          <a:p>
            <a:pPr lvl="1"/>
            <a:r>
              <a:rPr lang="en-US" sz="1050" b="1" dirty="0">
                <a:latin typeface="Segoe UI" panose="020B0502040204020203" pitchFamily="34" charset="0"/>
                <a:cs typeface="Segoe UI" panose="020B0502040204020203" pitchFamily="34" charset="0"/>
              </a:rPr>
              <a:t>Implicit transaction mode automatically starts a transaction when you issue certain statements and the transaction then continues until you issue a commit statement or a rollback statement.</a:t>
            </a:r>
          </a:p>
          <a:p>
            <a:pPr marL="109306" lvl="1" indent="0">
              <a:buNone/>
            </a:pPr>
            <a:r>
              <a:rPr lang="en-US" sz="1050" b="1" dirty="0">
                <a:latin typeface="Segoe UI" panose="020B0502040204020203" pitchFamily="34" charset="0"/>
                <a:cs typeface="Segoe UI" panose="020B0502040204020203" pitchFamily="34" charset="0"/>
              </a:rPr>
              <a:t>Example : </a:t>
            </a:r>
            <a:r>
              <a:rPr lang="en-US" sz="900" b="0" i="0" kern="1200" dirty="0">
                <a:solidFill>
                  <a:schemeClr val="tx1"/>
                </a:solidFill>
                <a:effectLst/>
                <a:latin typeface="Segoe UI Light" pitchFamily="34" charset="0"/>
                <a:ea typeface="+mn-ea"/>
                <a:cs typeface="+mn-cs"/>
              </a:rPr>
              <a:t>SET IMPLICIT_TRANSACTIONS ON; </a:t>
            </a:r>
            <a:endParaRPr lang="en-US" sz="1050" b="1" dirty="0">
              <a:latin typeface="Segoe UI" panose="020B0502040204020203" pitchFamily="34" charset="0"/>
              <a:cs typeface="Segoe UI" panose="020B0502040204020203" pitchFamily="34" charset="0"/>
            </a:endParaRPr>
          </a:p>
          <a:p>
            <a:pPr marL="0" indent="0">
              <a:buNone/>
            </a:pPr>
            <a:r>
              <a:rPr lang="en-US" sz="1050" b="1" dirty="0">
                <a:latin typeface="Segoe UI" panose="020B0502040204020203" pitchFamily="34" charset="0"/>
                <a:cs typeface="Segoe UI" panose="020B0502040204020203" pitchFamily="34" charset="0"/>
              </a:rPr>
              <a:t>--Session 1 </a:t>
            </a:r>
          </a:p>
          <a:p>
            <a:r>
              <a:rPr lang="en-US" sz="900" kern="1200" dirty="0">
                <a:solidFill>
                  <a:schemeClr val="tx1"/>
                </a:solidFill>
                <a:latin typeface="Consolas" panose="020B0609020204030204" pitchFamily="49" charset="0"/>
                <a:ea typeface="+mn-ea"/>
                <a:cs typeface="+mn-cs"/>
              </a:rPr>
              <a:t>SET IMPLICIT_TRANSACTIONS ON;</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UPDATE [Demo].[DemoSalesOrderDetailSeed] </a:t>
            </a:r>
          </a:p>
          <a:p>
            <a:r>
              <a:rPr lang="en-US" sz="900" kern="1200" dirty="0">
                <a:solidFill>
                  <a:schemeClr val="tx1"/>
                </a:solidFill>
                <a:latin typeface="Consolas" panose="020B0609020204030204" pitchFamily="49" charset="0"/>
                <a:ea typeface="+mn-ea"/>
                <a:cs typeface="+mn-cs"/>
              </a:rPr>
              <a:t>  SET [SpecialOfferID] = 0</a:t>
            </a:r>
          </a:p>
          <a:p>
            <a:r>
              <a:rPr lang="en-US" sz="900" kern="1200" dirty="0">
                <a:solidFill>
                  <a:schemeClr val="tx1"/>
                </a:solidFill>
                <a:latin typeface="Consolas" panose="020B0609020204030204" pitchFamily="49" charset="0"/>
                <a:ea typeface="+mn-ea"/>
                <a:cs typeface="+mn-cs"/>
              </a:rPr>
              <a:t>  WHERE OrderID= 55;</a:t>
            </a:r>
          </a:p>
          <a:p>
            <a:r>
              <a:rPr lang="en-US" sz="900" kern="1200" dirty="0">
                <a:solidFill>
                  <a:schemeClr val="tx1"/>
                </a:solidFill>
                <a:latin typeface="Consolas" panose="020B0609020204030204" pitchFamily="49" charset="0"/>
                <a:ea typeface="+mn-ea"/>
                <a:cs typeface="+mn-cs"/>
              </a:rPr>
              <a:t>GO</a:t>
            </a:r>
          </a:p>
          <a:p>
            <a:r>
              <a:rPr lang="en-US" sz="900" b="1" kern="1200" dirty="0">
                <a:solidFill>
                  <a:schemeClr val="tx1"/>
                </a:solidFill>
                <a:latin typeface="Segoe UI Light" pitchFamily="34" charset="0"/>
                <a:ea typeface="+mn-ea"/>
                <a:cs typeface="+mn-cs"/>
              </a:rPr>
              <a:t>--Session 2 –it will show transaction of session 1 is still open</a:t>
            </a:r>
          </a:p>
          <a:p>
            <a:r>
              <a:rPr lang="en-US" sz="900" kern="1200" dirty="0">
                <a:solidFill>
                  <a:schemeClr val="tx1"/>
                </a:solidFill>
                <a:latin typeface="Segoe UI Light" pitchFamily="34" charset="0"/>
                <a:ea typeface="+mn-ea"/>
                <a:cs typeface="+mn-cs"/>
              </a:rPr>
              <a:t>select * from Sys.sysprocesses where open_tran=1</a:t>
            </a:r>
            <a:endParaRPr lang="en-US" sz="1050" dirty="0">
              <a:latin typeface="Segoe UI" panose="020B0502040204020203" pitchFamily="34" charset="0"/>
              <a:cs typeface="Segoe UI" panose="020B0502040204020203" pitchFamily="34" charset="0"/>
            </a:endParaRPr>
          </a:p>
          <a:p>
            <a:pPr marL="0" indent="0">
              <a:buNone/>
            </a:pPr>
            <a:endParaRPr lang="en-US" sz="1050" dirty="0">
              <a:latin typeface="Segoe UI" panose="020B0502040204020203" pitchFamily="34" charset="0"/>
              <a:cs typeface="Segoe UI" panose="020B0502040204020203" pitchFamily="34" charset="0"/>
            </a:endParaRPr>
          </a:p>
          <a:p>
            <a:pPr marL="0" indent="0">
              <a:buNone/>
            </a:pPr>
            <a:r>
              <a:rPr lang="en-US" sz="1050" dirty="0">
                <a:latin typeface="Segoe UI" panose="020B0502040204020203" pitchFamily="34" charset="0"/>
                <a:cs typeface="Segoe UI" panose="020B0502040204020203" pitchFamily="34" charset="0"/>
              </a:rPr>
              <a:t>References:</a:t>
            </a:r>
          </a:p>
          <a:p>
            <a:pPr marL="0" indent="0">
              <a:buNone/>
            </a:pPr>
            <a:r>
              <a:rPr lang="en-US" sz="1050" b="1" dirty="0">
                <a:latin typeface="Segoe UI" panose="020B0502040204020203" pitchFamily="34" charset="0"/>
                <a:cs typeface="Segoe UI" panose="020B0502040204020203" pitchFamily="34" charset="0"/>
              </a:rPr>
              <a:t>For more information</a:t>
            </a:r>
            <a:r>
              <a:rPr lang="en-US" sz="1050" dirty="0">
                <a:latin typeface="Segoe UI" panose="020B0502040204020203" pitchFamily="34" charset="0"/>
                <a:cs typeface="Segoe UI" panose="020B0502040204020203" pitchFamily="34" charset="0"/>
              </a:rPr>
              <a:t> on </a:t>
            </a:r>
            <a:r>
              <a:rPr lang="en-US" sz="1050" b="1" dirty="0">
                <a:latin typeface="Segoe UI" panose="020B0502040204020203" pitchFamily="34" charset="0"/>
                <a:cs typeface="Segoe UI" panose="020B0502040204020203" pitchFamily="34" charset="0"/>
              </a:rPr>
              <a:t>SET IMPLICIT_TRANSACTIONS Transact-SQL</a:t>
            </a:r>
            <a:r>
              <a:rPr lang="en-US" sz="1050" dirty="0">
                <a:latin typeface="Segoe UI" panose="020B0502040204020203" pitchFamily="34" charset="0"/>
                <a:cs typeface="Segoe UI" panose="020B0502040204020203" pitchFamily="34" charset="0"/>
              </a:rPr>
              <a:t>), refer:</a:t>
            </a:r>
          </a:p>
          <a:p>
            <a:pPr marL="0" indent="0">
              <a:buNone/>
            </a:pPr>
            <a:r>
              <a:rPr lang="en-US" sz="1050" dirty="0">
                <a:hlinkClick r:id="rId3"/>
              </a:rPr>
              <a:t>https://docs.microsoft.com/en-us/sql/t-sql/statements/set-implicit-transactions-transact-sql?redirectedfrom=MSDN&amp;view=sql-server-ver15</a:t>
            </a:r>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2795011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re are many general considerations that need to be kept in mind when working with transactions.</a:t>
            </a:r>
          </a:p>
          <a:p>
            <a:pPr marL="171450" indent="-171450">
              <a:buFont typeface="Arial" panose="020B0604020202020204" pitchFamily="34" charset="0"/>
              <a:buChar char="•"/>
            </a:pPr>
            <a:r>
              <a:rPr lang="en-US" dirty="0"/>
              <a:t>Keep transactions as short as possible.</a:t>
            </a:r>
          </a:p>
          <a:p>
            <a:pPr marL="171450" indent="-171450">
              <a:buFont typeface="Arial" panose="020B0604020202020204" pitchFamily="34" charset="0"/>
              <a:buChar char="•"/>
            </a:pPr>
            <a:r>
              <a:rPr lang="en-US" dirty="0"/>
              <a:t>Transactions must be as short as possible. Longer transactions increase the likelihood that users will not be able to access locked data. Some methods to keep transactions short include the following:</a:t>
            </a:r>
          </a:p>
          <a:p>
            <a:pPr marL="381762" lvl="1" indent="-171450">
              <a:buFont typeface="Arial" panose="020B0604020202020204" pitchFamily="34" charset="0"/>
              <a:buChar char="•"/>
            </a:pPr>
            <a:r>
              <a:rPr lang="en-US" dirty="0"/>
              <a:t>Do not require input from users during a transaction. Address issues that require user interaction before you start the transaction. For example, if you are updating a customer record, obtain the necessary information from the user before you begin the transaction. A golden rule here is to never hold a transaction across a user interaction.</a:t>
            </a:r>
          </a:p>
          <a:p>
            <a:pPr marL="381762" lvl="1" indent="-171450">
              <a:buFont typeface="Arial" panose="020B0604020202020204" pitchFamily="34" charset="0"/>
              <a:buChar char="•"/>
            </a:pPr>
            <a:r>
              <a:rPr lang="en-US" dirty="0"/>
              <a:t>Do not open a transaction while browsing through data, if at all possible. Transactions must not start until all preliminary data analysis has been completed.</a:t>
            </a:r>
          </a:p>
          <a:p>
            <a:pPr marL="381762" lvl="1" indent="-171450">
              <a:buFont typeface="Arial" panose="020B0604020202020204" pitchFamily="34" charset="0"/>
              <a:buChar char="•"/>
            </a:pPr>
            <a:r>
              <a:rPr lang="en-US" dirty="0"/>
              <a:t>INSERT, UPDATE, and DELETE must be the primary statements in a transaction and they must be written to affect the fewest number of rows. A transaction must never be smaller than a logical unit of work.</a:t>
            </a:r>
          </a:p>
          <a:p>
            <a:pPr marL="381762" lvl="1" indent="-171450">
              <a:buFont typeface="Arial" panose="020B0604020202020204" pitchFamily="34" charset="0"/>
              <a:buChar char="•"/>
            </a:pPr>
            <a:r>
              <a:rPr lang="en-US" dirty="0"/>
              <a:t>Access the least amount of data possible while in a transaction. This decreases the number of locked rows and reduces contention.</a:t>
            </a:r>
          </a:p>
          <a:p>
            <a:pPr marL="171450" indent="-171450">
              <a:buFont typeface="Arial" panose="020B0604020202020204" pitchFamily="34" charset="0"/>
              <a:buChar char="•"/>
            </a:pPr>
            <a:r>
              <a:rPr lang="en-US" dirty="0"/>
              <a:t>Ensure that appropriate indexing is in place as this reduces the number of pages that need to be accessed and locked.</a:t>
            </a:r>
          </a:p>
          <a:p>
            <a:pPr marL="171450" indent="-171450">
              <a:buFont typeface="Arial" panose="020B0604020202020204" pitchFamily="34" charset="0"/>
              <a:buChar char="•"/>
            </a:pPr>
            <a:r>
              <a:rPr lang="en-US" dirty="0"/>
              <a:t>Try to access resources in the same order.</a:t>
            </a:r>
          </a:p>
          <a:p>
            <a:pPr marL="171450" indent="-171450">
              <a:buFont typeface="Arial" panose="020B0604020202020204" pitchFamily="34" charset="0"/>
              <a:buChar char="•"/>
            </a:pPr>
            <a:r>
              <a:rPr lang="en-US" dirty="0"/>
              <a:t>Accessing resources in the same order within transactions tends to naturally serialize your access to the database and can help to avoid deadlocks. However, doing this is not always possible.</a:t>
            </a:r>
          </a:p>
          <a:p>
            <a:r>
              <a:rPr lang="en-US" b="1" dirty="0"/>
              <a:t>Note: </a:t>
            </a:r>
            <a:r>
              <a:rPr lang="en-US" i="1" u="sng" dirty="0"/>
              <a:t>Deadlocks will be discussed later in the module.</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dirty="0"/>
          </a:p>
        </p:txBody>
      </p:sp>
    </p:spTree>
    <p:extLst>
      <p:ext uri="{BB962C8B-B14F-4D97-AF65-F5344CB8AC3E}">
        <p14:creationId xmlns:p14="http://schemas.microsoft.com/office/powerpoint/2010/main" val="1377821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3</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4/7/2023</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M04L01Demo01</a:t>
            </a:r>
          </a:p>
          <a:p>
            <a:pPr marL="0" marR="0" lvl="0" indent="0" algn="l" defTabSz="914460" rtl="0" eaLnBrk="1" fontAlgn="auto" latinLnBrk="0" hangingPunct="1">
              <a:lnSpc>
                <a:spcPct val="90000"/>
              </a:lnSpc>
              <a:spcBef>
                <a:spcPts val="333"/>
              </a:spcBef>
              <a:spcAft>
                <a:spcPts val="333"/>
              </a:spcAft>
              <a:buClrTx/>
              <a:buSzTx/>
              <a:buFontTx/>
              <a:buNone/>
              <a:tabLst/>
              <a:defRPr/>
            </a:pPr>
            <a:endParaRPr lang="en-US" sz="882" noProof="1">
              <a:solidFill>
                <a:prstClr val="black"/>
              </a:solidFill>
              <a:latin typeface="Segoe UI Light" pitchFamily="34" charset="0"/>
            </a:endParaRP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4L01Demo01\Implicit_Transaction</a:t>
            </a:r>
            <a:r>
              <a:rPr lang="en-US" i="1" dirty="0">
                <a:latin typeface="Segoe UI" panose="020B0502040204020203" pitchFamily="34" charset="0"/>
                <a:cs typeface="Segoe UI" panose="020B0502040204020203" pitchFamily="34" charset="0"/>
              </a:rPr>
              <a:t>.sql</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pPr>
            <a:r>
              <a:rPr lang="en-US" sz="882" dirty="0">
                <a:solidFill>
                  <a:prstClr val="black"/>
                </a:solidFill>
                <a:latin typeface="Segoe UI Light" pitchFamily="34" charset="0"/>
              </a:rPr>
              <a:t>For this Demo you need to open the two Session in SSMS</a:t>
            </a:r>
          </a:p>
          <a:p>
            <a:pPr lvl="0" defTabSz="914460">
              <a:lnSpc>
                <a:spcPct val="90000"/>
              </a:lnSpc>
              <a:spcAft>
                <a:spcPts val="333"/>
              </a:spcAft>
            </a:pPr>
            <a:endParaRPr lang="en-US" sz="882" dirty="0">
              <a:solidFill>
                <a:prstClr val="black"/>
              </a:solidFill>
              <a:latin typeface="Segoe UI Light" pitchFamily="34" charset="0"/>
            </a:endParaRPr>
          </a:p>
          <a:p>
            <a:pPr marL="228600" lvl="0" indent="-228600" defTabSz="914460">
              <a:lnSpc>
                <a:spcPct val="90000"/>
              </a:lnSpc>
              <a:spcAft>
                <a:spcPts val="333"/>
              </a:spcAft>
              <a:buAutoNum type="arabicPeriod"/>
            </a:pPr>
            <a:r>
              <a:rPr lang="en-US" sz="882" dirty="0">
                <a:solidFill>
                  <a:prstClr val="black"/>
                </a:solidFill>
                <a:latin typeface="Segoe UI Light" pitchFamily="34" charset="0"/>
              </a:rPr>
              <a:t>Session 1 , For running </a:t>
            </a:r>
            <a:r>
              <a:rPr lang="en-US" sz="882" b="1" dirty="0">
                <a:solidFill>
                  <a:prstClr val="black"/>
                </a:solidFill>
                <a:latin typeface="Segoe UI Light" pitchFamily="34" charset="0"/>
              </a:rPr>
              <a:t>select and update</a:t>
            </a:r>
            <a:r>
              <a:rPr lang="en-US" sz="882" dirty="0">
                <a:solidFill>
                  <a:prstClr val="black"/>
                </a:solidFill>
                <a:latin typeface="Segoe UI Light" pitchFamily="34" charset="0"/>
              </a:rPr>
              <a:t> statement with Implicit transaction on </a:t>
            </a:r>
          </a:p>
          <a:p>
            <a:pPr marL="228600" lvl="0" indent="-228600" defTabSz="914460">
              <a:lnSpc>
                <a:spcPct val="90000"/>
              </a:lnSpc>
              <a:spcAft>
                <a:spcPts val="333"/>
              </a:spcAft>
              <a:buAutoNum type="arabicPeriod"/>
            </a:pPr>
            <a:r>
              <a:rPr lang="en-US" sz="882" dirty="0">
                <a:solidFill>
                  <a:prstClr val="black"/>
                </a:solidFill>
                <a:latin typeface="Segoe UI Light" pitchFamily="34" charset="0"/>
              </a:rPr>
              <a:t>Second Session to show that Transaction started in session 1 is still open in SQL server so need to commit/rollback the transaction started in session1 then there will not be any open transaction</a:t>
            </a:r>
          </a:p>
          <a:p>
            <a:pPr marL="228600" lvl="0" indent="-228600" defTabSz="914460">
              <a:lnSpc>
                <a:spcPct val="90000"/>
              </a:lnSpc>
              <a:spcAft>
                <a:spcPts val="333"/>
              </a:spcAft>
              <a:buAutoNum type="arabicPeriod"/>
            </a:pPr>
            <a:r>
              <a:rPr lang="en-US" sz="882" b="1" dirty="0">
                <a:solidFill>
                  <a:prstClr val="black"/>
                </a:solidFill>
                <a:latin typeface="Segoe UI Light" pitchFamily="34" charset="0"/>
              </a:rPr>
              <a:t>In case of Update: </a:t>
            </a:r>
            <a:r>
              <a:rPr lang="en-US" sz="882" b="0" dirty="0">
                <a:solidFill>
                  <a:prstClr val="black"/>
                </a:solidFill>
                <a:latin typeface="Segoe UI Light" pitchFamily="34" charset="0"/>
              </a:rPr>
              <a:t>when you run the  update </a:t>
            </a:r>
            <a:r>
              <a:rPr lang="en-US" sz="882" dirty="0">
                <a:solidFill>
                  <a:prstClr val="black"/>
                </a:solidFill>
                <a:latin typeface="Segoe UI Light" pitchFamily="34" charset="0"/>
              </a:rPr>
              <a:t>statement in Session 1, run the query to show open transaction in Session 2 and thereafter just run the select statement against table where update is happening and show the users that it is not returning any resulting but also not finished. Once you  finish the session 1 statement using rollback/commit , session 2 will show select stamen result also there will not be any open transaction in SQL.</a:t>
            </a:r>
          </a:p>
          <a:p>
            <a:pPr marL="228600" lvl="0" indent="-228600" defTabSz="914460">
              <a:lnSpc>
                <a:spcPct val="90000"/>
              </a:lnSpc>
              <a:spcAft>
                <a:spcPts val="333"/>
              </a:spcAft>
              <a:buAutoNum type="arabicPeriod"/>
            </a:pPr>
            <a:r>
              <a:rPr lang="en-US" sz="882" dirty="0">
                <a:solidFill>
                  <a:prstClr val="black"/>
                </a:solidFill>
                <a:latin typeface="Segoe UI Light" pitchFamily="34" charset="0"/>
              </a:rPr>
              <a:t>This can be a </a:t>
            </a:r>
            <a:r>
              <a:rPr lang="en-US" dirty="0"/>
              <a:t>severe performance impact in OLTP environment.</a:t>
            </a: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95748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0584" marR="0" lvl="1" indent="0" algn="l" defTabSz="914400" rtl="0" eaLnBrk="1" fontAlgn="auto" latinLnBrk="0" hangingPunct="1">
              <a:lnSpc>
                <a:spcPct val="90000"/>
              </a:lnSpc>
              <a:spcBef>
                <a:spcPts val="333"/>
              </a:spcBef>
              <a:spcAft>
                <a:spcPts val="0"/>
              </a:spcAft>
              <a:buClr>
                <a:schemeClr val="tx1"/>
              </a:buClr>
              <a:buSzPct val="90000"/>
              <a:buFont typeface="+mj-lt"/>
              <a:buNone/>
              <a:tabLst/>
              <a:defRPr/>
            </a:pPr>
            <a:r>
              <a:rPr lang="en-GB" dirty="0"/>
              <a:t>Q1: </a:t>
            </a:r>
            <a:r>
              <a:rPr lang="en-US" sz="900" kern="1200" dirty="0"/>
              <a:t>What is the default transaction mode in SQL Server?</a:t>
            </a:r>
          </a:p>
          <a:p>
            <a:pPr marL="100584" lvl="1" indent="0">
              <a:buFont typeface="+mj-lt"/>
              <a:buNone/>
            </a:pPr>
            <a:r>
              <a:rPr lang="en-GB" dirty="0"/>
              <a:t>A1: </a:t>
            </a:r>
            <a:r>
              <a:rPr lang="en-GB" dirty="0" err="1"/>
              <a:t>Autocommit</a:t>
            </a:r>
            <a:endParaRPr lang="en-GB" dirty="0"/>
          </a:p>
          <a:p>
            <a:pPr marL="100584" lvl="1" indent="0">
              <a:buFont typeface="+mj-lt"/>
              <a:buNone/>
            </a:pPr>
            <a:endParaRPr lang="en-GB" dirty="0"/>
          </a:p>
          <a:p>
            <a:pPr marL="0" lvl="0" indent="0" algn="l" defTabSz="577850">
              <a:lnSpc>
                <a:spcPct val="90000"/>
              </a:lnSpc>
              <a:spcBef>
                <a:spcPct val="0"/>
              </a:spcBef>
              <a:spcAft>
                <a:spcPct val="35000"/>
              </a:spcAft>
              <a:buNone/>
            </a:pPr>
            <a:r>
              <a:rPr lang="en-GB" dirty="0"/>
              <a:t>Q2: </a:t>
            </a:r>
            <a:r>
              <a:rPr lang="en-US" sz="2400" kern="1200" dirty="0"/>
              <a:t>What will the transaction count be after the following code is executed</a:t>
            </a:r>
          </a:p>
          <a:p>
            <a:pPr lvl="3" defTabSz="577850">
              <a:lnSpc>
                <a:spcPct val="90000"/>
              </a:lnSpc>
              <a:spcBef>
                <a:spcPct val="0"/>
              </a:spcBef>
              <a:spcAft>
                <a:spcPct val="35000"/>
              </a:spcAft>
            </a:pPr>
            <a:r>
              <a:rPr lang="en-US" sz="1300" kern="1200" dirty="0">
                <a:solidFill>
                  <a:schemeClr val="bg1"/>
                </a:solidFill>
              </a:rPr>
              <a:t>BEGIN TRANSACTION</a:t>
            </a:r>
          </a:p>
          <a:p>
            <a:pPr lvl="3" defTabSz="577850">
              <a:lnSpc>
                <a:spcPct val="90000"/>
              </a:lnSpc>
              <a:spcBef>
                <a:spcPct val="0"/>
              </a:spcBef>
              <a:spcAft>
                <a:spcPct val="35000"/>
              </a:spcAft>
            </a:pPr>
            <a:r>
              <a:rPr lang="en-US" sz="1300" kern="1200" dirty="0">
                <a:solidFill>
                  <a:schemeClr val="bg1"/>
                </a:solidFill>
              </a:rPr>
              <a:t>	BEGIN TRANSACTION</a:t>
            </a:r>
          </a:p>
          <a:p>
            <a:pPr lvl="3" defTabSz="577850">
              <a:lnSpc>
                <a:spcPct val="90000"/>
              </a:lnSpc>
              <a:spcBef>
                <a:spcPct val="0"/>
              </a:spcBef>
              <a:spcAft>
                <a:spcPct val="35000"/>
              </a:spcAft>
            </a:pPr>
            <a:r>
              <a:rPr lang="en-US" sz="1300" kern="1200" dirty="0">
                <a:solidFill>
                  <a:schemeClr val="bg1"/>
                </a:solidFill>
              </a:rPr>
              <a:t>ROLLBACK TRANSACTION</a:t>
            </a:r>
          </a:p>
          <a:p>
            <a:pPr marL="100584" lvl="1" indent="0">
              <a:buFont typeface="+mj-lt"/>
              <a:buNone/>
            </a:pPr>
            <a:r>
              <a:rPr lang="en-US" dirty="0"/>
              <a:t>A2: 0</a:t>
            </a:r>
          </a:p>
          <a:p>
            <a:pPr marL="100584" lvl="1" indent="0">
              <a:buFont typeface="+mj-lt"/>
              <a:buNone/>
            </a:pPr>
            <a:endParaRPr lang="en-US" dirty="0"/>
          </a:p>
          <a:p>
            <a:pPr marL="100584" lvl="1" indent="0">
              <a:buFont typeface="+mj-lt"/>
              <a:buNone/>
            </a:pPr>
            <a:r>
              <a:rPr lang="en-US" dirty="0"/>
              <a:t>Q3: </a:t>
            </a:r>
            <a:r>
              <a:rPr lang="en-US" sz="900" kern="1200" dirty="0"/>
              <a:t>What</a:t>
            </a:r>
            <a:r>
              <a:rPr lang="en-US" sz="900" dirty="0"/>
              <a:t> are two different concurrency models supported by SQL server ?</a:t>
            </a:r>
            <a:endParaRPr lang="en-US" dirty="0"/>
          </a:p>
          <a:p>
            <a:pPr marL="100584" lvl="1" indent="0">
              <a:buFont typeface="+mj-lt"/>
              <a:buNone/>
            </a:pPr>
            <a:r>
              <a:rPr lang="en-US" dirty="0"/>
              <a:t>A3: Pessimistic and Optimistic</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dirty="0"/>
          </a:p>
        </p:txBody>
      </p:sp>
    </p:spTree>
    <p:extLst>
      <p:ext uri="{BB962C8B-B14F-4D97-AF65-F5344CB8AC3E}">
        <p14:creationId xmlns:p14="http://schemas.microsoft.com/office/powerpoint/2010/main" val="33265256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073966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18106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503051"/>
      </p:ext>
    </p:extLst>
  </p:cSld>
  <p:clrMapOvr>
    <a:masterClrMapping/>
  </p:clrMapOvr>
  <p:hf sldNum="0" hdr="0" ftr="0" dt="0"/>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6706"/>
      </p:ext>
    </p:extLst>
  </p:cSld>
  <p:clrMapOvr>
    <a:masterClrMapping/>
  </p:clrMapOvr>
  <p:hf sldNum="0" hdr="0" ftr="0" dt="0"/>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02FEDF1D-D8BA-1364-0175-2B52AEE0E349}"/>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487608186"/>
      </p:ext>
    </p:extLst>
  </p:cSld>
  <p:clrMapOvr>
    <a:masterClrMapping/>
  </p:clrMapOvr>
  <p:hf sldNum="0" hdr="0" ftr="0" dt="0"/>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70E4946F-6A0B-F77E-1BDA-C8339D110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89795267"/>
      </p:ext>
    </p:extLst>
  </p:cSld>
  <p:clrMapOvr>
    <a:masterClrMapping/>
  </p:clrMapOvr>
  <p:hf sldNum="0"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303033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F8B530F6-B6F2-6D06-FA5E-5FBB25E6408F}"/>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1356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9418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308719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54657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40813520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984996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37654339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52730977"/>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44524805"/>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0502322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636032758"/>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344234730"/>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2050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7097272"/>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43413644"/>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923135"/>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72713829"/>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998368"/>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43553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985113547"/>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830233907"/>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831548248"/>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381480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152866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60964888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9741815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2073935"/>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61264726"/>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396141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176578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38180507"/>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7388786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55683490"/>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323111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186342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629077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76709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76750337"/>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84368526"/>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6924562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35015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56088797"/>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45517211"/>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976516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884731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430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12879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58202"/>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406849"/>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815787"/>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95892057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64093301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846094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2665740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10747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4997681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5828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14370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4287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42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007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516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2645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3173055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07894314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677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48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53668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7099392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149093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029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25" y="0"/>
            <a:ext cx="12459852" cy="6961909"/>
          </a:xfrm>
          <a:prstGeom prst="rect">
            <a:avLst/>
          </a:prstGeom>
        </p:spPr>
      </p:pic>
      <p:sp>
        <p:nvSpPr>
          <p:cNvPr id="10" name="Rectangle 9"/>
          <p:cNvSpPr/>
          <p:nvPr userDrawn="1"/>
        </p:nvSpPr>
        <p:spPr bwMode="auto">
          <a:xfrm>
            <a:off x="-83126" y="4"/>
            <a:ext cx="9265226"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169648" cy="358620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45444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8539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291475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299263093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531416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3160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47219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7706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715338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3527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6677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8467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744376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28121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3685754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74911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055213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20695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4947583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476958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97663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3737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44912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60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84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26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816663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234802732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8616101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02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453739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5956957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201650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9139330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B7FAACE5-DAAB-B644-48CF-96E0E91F52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6188491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5A12CE5E-D95B-315F-A6FF-BA65019DCF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28759990"/>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84732087-436D-3241-E24B-34AAEDE13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92008806"/>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D5F3D665-1E24-BD4B-A655-C5C27BFB8F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2815135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0FB08A6E-1DD4-0BA5-8FAC-A53EE1F0F8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01916126"/>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861249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2545910"/>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47129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72973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0929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7953621"/>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61370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93677600"/>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616356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14199078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43692918"/>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822023767"/>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643062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36388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68130689"/>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5289738"/>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3093604"/>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86118130"/>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5366942"/>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50116462"/>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87118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689324"/>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8653639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05559983"/>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57292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03633493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58628572"/>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33571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0415763"/>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575183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3944372"/>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3EBE8CE2-FD98-6A45-E246-1B45CF38EF29}"/>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2940255"/>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65C6FFF2-BEC8-C8E2-3C35-269DF5346A96}"/>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27064"/>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188997"/>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52542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theme" Target="../theme/theme2.xml"/><Relationship Id="rId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slideLayout" Target="../slideLayouts/slideLayout107.xml"/><Relationship Id="rId50" Type="http://schemas.openxmlformats.org/officeDocument/2006/relationships/slideLayout" Target="../slideLayouts/slideLayout110.xml"/><Relationship Id="rId55" Type="http://schemas.openxmlformats.org/officeDocument/2006/relationships/tags" Target="../tags/tag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3" Type="http://schemas.openxmlformats.org/officeDocument/2006/relationships/theme" Target="../theme/theme4.xml"/><Relationship Id="rId58" Type="http://schemas.openxmlformats.org/officeDocument/2006/relationships/tags" Target="../tags/tag6.xml"/><Relationship Id="rId5" Type="http://schemas.openxmlformats.org/officeDocument/2006/relationships/slideLayout" Target="../slideLayouts/slideLayout65.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slideLayout" Target="../slideLayouts/slideLayout108.xml"/><Relationship Id="rId56" Type="http://schemas.openxmlformats.org/officeDocument/2006/relationships/tags" Target="../tags/tag4.xml"/><Relationship Id="rId8" Type="http://schemas.openxmlformats.org/officeDocument/2006/relationships/slideLayout" Target="../slideLayouts/slideLayout68.xml"/><Relationship Id="rId51" Type="http://schemas.openxmlformats.org/officeDocument/2006/relationships/slideLayout" Target="../slideLayouts/slideLayout111.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59" Type="http://schemas.openxmlformats.org/officeDocument/2006/relationships/image" Target="../media/image8.emf"/><Relationship Id="rId20" Type="http://schemas.openxmlformats.org/officeDocument/2006/relationships/slideLayout" Target="../slideLayouts/slideLayout80.xml"/><Relationship Id="rId41" Type="http://schemas.openxmlformats.org/officeDocument/2006/relationships/slideLayout" Target="../slideLayouts/slideLayout101.xml"/><Relationship Id="rId54" Type="http://schemas.openxmlformats.org/officeDocument/2006/relationships/tags" Target="../tags/tag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49" Type="http://schemas.openxmlformats.org/officeDocument/2006/relationships/slideLayout" Target="../slideLayouts/slideLayout109.xml"/><Relationship Id="rId57" Type="http://schemas.openxmlformats.org/officeDocument/2006/relationships/tags" Target="../tags/tag5.xml"/><Relationship Id="rId10" Type="http://schemas.openxmlformats.org/officeDocument/2006/relationships/slideLayout" Target="../slideLayouts/slideLayout70.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52"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tags" Target="../tags/tag8.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theme" Target="../theme/theme5.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image" Target="../media/image8.emf"/><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tags" Target="../tags/tag9.xml"/><Relationship Id="rId8" Type="http://schemas.openxmlformats.org/officeDocument/2006/relationships/slideLayout" Target="../slideLayouts/slideLayout120.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tags" Target="../tags/tag7.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1" Type="http://schemas.openxmlformats.org/officeDocument/2006/relationships/slideLayout" Target="../slideLayouts/slideLayout113.xml"/><Relationship Id="rId6"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689549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77656033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8" r:id="rId4"/>
  </p:sldLayoutIdLst>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4210840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899E8AED-7E07-60A4-64E9-1CC8BF4F5F4A}"/>
              </a:ext>
              <a:ext uri="{C183D7F6-B498-43B3-948B-1728B52AA6E4}">
                <adec:decorative xmlns:adec="http://schemas.microsoft.com/office/drawing/2017/decorative" val="1"/>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1CB2AD1C-7657-C8A8-4CC7-F1D12BDEED38}"/>
              </a:ext>
            </a:extLst>
          </p:cNvPr>
          <p:cNvSpPr/>
          <p:nvPr userDrawn="1">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301878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744" r:id="rId47"/>
    <p:sldLayoutId id="2147483707" r:id="rId48"/>
    <p:sldLayoutId id="2147483708" r:id="rId49"/>
    <p:sldLayoutId id="2147483737" r:id="rId50"/>
    <p:sldLayoutId id="2147483727" r:id="rId51"/>
    <p:sldLayoutId id="2147483789" r:id="rId52"/>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356883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 id="2147483893" r:id="rId27"/>
    <p:sldLayoutId id="2147483894" r:id="rId28"/>
    <p:sldLayoutId id="2147483895" r:id="rId29"/>
    <p:sldLayoutId id="2147483896" r:id="rId30"/>
    <p:sldLayoutId id="2147483897" r:id="rId31"/>
    <p:sldLayoutId id="2147483898" r:id="rId32"/>
    <p:sldLayoutId id="2147483899" r:id="rId33"/>
    <p:sldLayoutId id="2147483900" r:id="rId34"/>
    <p:sldLayoutId id="2147483901" r:id="rId35"/>
    <p:sldLayoutId id="2147483902" r:id="rId36"/>
    <p:sldLayoutId id="2147483903" r:id="rId37"/>
    <p:sldLayoutId id="2147483904" r:id="rId38"/>
    <p:sldLayoutId id="2147483905" r:id="rId39"/>
    <p:sldLayoutId id="2147483906" r:id="rId40"/>
    <p:sldLayoutId id="2147483907" r:id="rId41"/>
    <p:sldLayoutId id="2147483908" r:id="rId42"/>
    <p:sldLayoutId id="2147483909" r:id="rId43"/>
    <p:sldLayoutId id="2147483910"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9.xml"/><Relationship Id="rId6" Type="http://schemas.openxmlformats.org/officeDocument/2006/relationships/image" Target="../media/image18.png"/><Relationship Id="rId5" Type="http://schemas.openxmlformats.org/officeDocument/2006/relationships/image" Target="../media/image15.sv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6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xml"/><Relationship Id="rId1" Type="http://schemas.openxmlformats.org/officeDocument/2006/relationships/slideLayout" Target="../slideLayouts/slideLayout6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0.xml"/><Relationship Id="rId1" Type="http://schemas.openxmlformats.org/officeDocument/2006/relationships/tags" Target="../tags/tag12.xml"/><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7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9.xml"/><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6.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05.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xml"/><Relationship Id="rId1" Type="http://schemas.openxmlformats.org/officeDocument/2006/relationships/slideLayout" Target="../slideLayouts/slideLayout6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0.xml"/><Relationship Id="rId1" Type="http://schemas.openxmlformats.org/officeDocument/2006/relationships/tags" Target="../tags/tag13.xml"/><Relationship Id="rId4" Type="http://schemas.openxmlformats.org/officeDocument/2006/relationships/image" Target="../media/image19.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3.png"/><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2.xml"/><Relationship Id="rId7" Type="http://schemas.openxmlformats.org/officeDocument/2006/relationships/image" Target="../media/image11.png"/><Relationship Id="rId2" Type="http://schemas.openxmlformats.org/officeDocument/2006/relationships/customXml" Target="../../customXml/item12.xml"/><Relationship Id="rId1" Type="http://schemas.openxmlformats.org/officeDocument/2006/relationships/tags" Target="../tags/tag10.xml"/><Relationship Id="rId6" Type="http://schemas.openxmlformats.org/officeDocument/2006/relationships/notesSlide" Target="../notesSlides/notesSlide2.xml"/><Relationship Id="rId5" Type="http://schemas.openxmlformats.org/officeDocument/2006/relationships/slideLayout" Target="../slideLayouts/slideLayout69.xml"/><Relationship Id="rId4" Type="http://schemas.openxmlformats.org/officeDocument/2006/relationships/tags" Target="../tags/tag1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7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11.png"/><Relationship Id="rId2" Type="http://schemas.openxmlformats.org/officeDocument/2006/relationships/customXml" Target="../../customXml/item1.xml"/><Relationship Id="rId1" Type="http://schemas.openxmlformats.org/officeDocument/2006/relationships/tags" Target="../tags/tag16.xml"/><Relationship Id="rId6" Type="http://schemas.openxmlformats.org/officeDocument/2006/relationships/notesSlide" Target="../notesSlides/notesSlide19.xml"/><Relationship Id="rId5" Type="http://schemas.openxmlformats.org/officeDocument/2006/relationships/slideLayout" Target="../slideLayouts/slideLayout69.xml"/><Relationship Id="rId4" Type="http://schemas.openxmlformats.org/officeDocument/2006/relationships/tags" Target="../tags/tag17.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9.xml"/><Relationship Id="rId5" Type="http://schemas.openxmlformats.org/officeDocument/2006/relationships/image" Target="../media/image23.png"/><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5.xml"/><Relationship Id="rId1" Type="http://schemas.openxmlformats.org/officeDocument/2006/relationships/slideLayout" Target="../slideLayouts/slideLayout6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7.xml"/><Relationship Id="rId1" Type="http://schemas.openxmlformats.org/officeDocument/2006/relationships/slideLayout" Target="../slideLayouts/slideLayout6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9.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80.xml"/><Relationship Id="rId1" Type="http://schemas.openxmlformats.org/officeDocument/2006/relationships/tags" Target="../tags/tag18.xml"/><Relationship Id="rId4" Type="http://schemas.openxmlformats.org/officeDocument/2006/relationships/image" Target="../media/image19.jpeg"/></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2.xml"/><Relationship Id="rId1" Type="http://schemas.openxmlformats.org/officeDocument/2006/relationships/slideLayout" Target="../slideLayouts/slideLayout7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9.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11.png"/><Relationship Id="rId2" Type="http://schemas.openxmlformats.org/officeDocument/2006/relationships/customXml" Target="../../customXml/item10.xml"/><Relationship Id="rId1" Type="http://schemas.openxmlformats.org/officeDocument/2006/relationships/tags" Target="../tags/tag19.xml"/><Relationship Id="rId6" Type="http://schemas.openxmlformats.org/officeDocument/2006/relationships/notesSlide" Target="../notesSlides/notesSlide33.xml"/><Relationship Id="rId5" Type="http://schemas.openxmlformats.org/officeDocument/2006/relationships/slideLayout" Target="../slideLayouts/slideLayout69.xml"/><Relationship Id="rId4" Type="http://schemas.openxmlformats.org/officeDocument/2006/relationships/tags" Target="../tags/tag20.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4.xml"/><Relationship Id="rId1" Type="http://schemas.openxmlformats.org/officeDocument/2006/relationships/slideLayout" Target="../slideLayouts/slideLayout68.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5.xml"/><Relationship Id="rId1" Type="http://schemas.openxmlformats.org/officeDocument/2006/relationships/slideLayout" Target="../slideLayouts/slideLayout6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52.xml.rels><?xml version="1.0" encoding="UTF-8" standalone="yes"?>
<Relationships xmlns="http://schemas.openxmlformats.org/package/2006/relationships"><Relationship Id="rId8" Type="http://schemas.openxmlformats.org/officeDocument/2006/relationships/diagramData" Target="../diagrams/data18.xml"/><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36.xml"/><Relationship Id="rId1" Type="http://schemas.openxmlformats.org/officeDocument/2006/relationships/slideLayout" Target="../slideLayouts/slideLayout68.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8.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8.xml"/><Relationship Id="rId1" Type="http://schemas.openxmlformats.org/officeDocument/2006/relationships/slideLayout" Target="../slideLayouts/slideLayout68.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9.xml"/><Relationship Id="rId1" Type="http://schemas.openxmlformats.org/officeDocument/2006/relationships/slideLayout" Target="../slideLayouts/slideLayout68.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5.jpeg"/><Relationship Id="rId4" Type="http://schemas.openxmlformats.org/officeDocument/2006/relationships/notesSlide" Target="../notesSlides/notesSlide40.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1.xml"/><Relationship Id="rId1" Type="http://schemas.openxmlformats.org/officeDocument/2006/relationships/slideLayout" Target="../slideLayouts/slideLayout7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6.xml"/></Relationships>
</file>

<file path=ppt/slides/_rels/slide59.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11.png"/><Relationship Id="rId2" Type="http://schemas.openxmlformats.org/officeDocument/2006/relationships/customXml" Target="../../customXml/item7.xml"/><Relationship Id="rId1" Type="http://schemas.openxmlformats.org/officeDocument/2006/relationships/tags" Target="../tags/tag23.xml"/><Relationship Id="rId6" Type="http://schemas.openxmlformats.org/officeDocument/2006/relationships/notesSlide" Target="../notesSlides/notesSlide43.xml"/><Relationship Id="rId5" Type="http://schemas.openxmlformats.org/officeDocument/2006/relationships/slideLayout" Target="../slideLayouts/slideLayout69.xml"/><Relationship Id="rId4" Type="http://schemas.openxmlformats.org/officeDocument/2006/relationships/tags" Target="../tags/tag2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4.xml"/><Relationship Id="rId1" Type="http://schemas.openxmlformats.org/officeDocument/2006/relationships/slideLayout" Target="../slideLayouts/slideLayout69.xml"/><Relationship Id="rId6" Type="http://schemas.openxmlformats.org/officeDocument/2006/relationships/diagramColors" Target="../diagrams/colors22.xml"/><Relationship Id="rId5" Type="http://schemas.openxmlformats.org/officeDocument/2006/relationships/diagramQuickStyle" Target="../diagrams/quickStyle22.xml"/><Relationship Id="rId10" Type="http://schemas.openxmlformats.org/officeDocument/2006/relationships/image" Target="../media/image38.emf"/><Relationship Id="rId4" Type="http://schemas.openxmlformats.org/officeDocument/2006/relationships/diagramLayout" Target="../diagrams/layout22.xml"/><Relationship Id="rId9" Type="http://schemas.openxmlformats.org/officeDocument/2006/relationships/image" Target="../media/image37.svg"/></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5.xml"/><Relationship Id="rId1" Type="http://schemas.openxmlformats.org/officeDocument/2006/relationships/slideLayout" Target="../slideLayouts/slideLayout6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6.xml"/><Relationship Id="rId1" Type="http://schemas.openxmlformats.org/officeDocument/2006/relationships/slideLayout" Target="../slideLayouts/slideLayout69.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7.xml"/><Relationship Id="rId1" Type="http://schemas.openxmlformats.org/officeDocument/2006/relationships/slideLayout" Target="../slideLayouts/slideLayout69.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80.xml"/><Relationship Id="rId1" Type="http://schemas.openxmlformats.org/officeDocument/2006/relationships/tags" Target="../tags/tag25.xml"/><Relationship Id="rId4" Type="http://schemas.openxmlformats.org/officeDocument/2006/relationships/image" Target="../media/image19.jpeg"/></Relationships>
</file>

<file path=ppt/slides/_rels/slide65.xml.rels><?xml version="1.0" encoding="UTF-8" standalone="yes"?>
<Relationships xmlns="http://schemas.openxmlformats.org/package/2006/relationships"><Relationship Id="rId8" Type="http://schemas.openxmlformats.org/officeDocument/2006/relationships/image" Target="../media/image39.gif"/><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9.xml"/><Relationship Id="rId1" Type="http://schemas.openxmlformats.org/officeDocument/2006/relationships/slideLayout" Target="../slideLayouts/slideLayout68.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6.xml.rels><?xml version="1.0" encoding="UTF-8" standalone="yes"?>
<Relationships xmlns="http://schemas.openxmlformats.org/package/2006/relationships"><Relationship Id="rId3" Type="http://schemas.openxmlformats.org/officeDocument/2006/relationships/image" Target="../media/image39.gif"/><Relationship Id="rId2" Type="http://schemas.openxmlformats.org/officeDocument/2006/relationships/notesSlide" Target="../notesSlides/notesSlide50.xml"/><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51.xml"/><Relationship Id="rId1" Type="http://schemas.openxmlformats.org/officeDocument/2006/relationships/slideLayout" Target="../slideLayouts/slideLayout69.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6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52.xml"/><Relationship Id="rId1" Type="http://schemas.openxmlformats.org/officeDocument/2006/relationships/slideLayout" Target="../slideLayouts/slideLayout69.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6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53.xml"/><Relationship Id="rId1" Type="http://schemas.openxmlformats.org/officeDocument/2006/relationships/slideLayout" Target="../slideLayouts/slideLayout69.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 Id="rId9"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6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54.xml"/><Relationship Id="rId1" Type="http://schemas.openxmlformats.org/officeDocument/2006/relationships/slideLayout" Target="../slideLayouts/slideLayout69.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80.xml"/><Relationship Id="rId1" Type="http://schemas.openxmlformats.org/officeDocument/2006/relationships/tags" Target="../tags/tag26.xml"/><Relationship Id="rId4" Type="http://schemas.openxmlformats.org/officeDocument/2006/relationships/image" Target="../media/image19.jpeg"/></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33.png"/><Relationship Id="rId4" Type="http://schemas.openxmlformats.org/officeDocument/2006/relationships/notesSlide" Target="../notesSlides/notesSlide5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03.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9.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6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Concurrency and Transaction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3" name="AutoShape 4" descr="Image result for blue database"/>
          <p:cNvSpPr>
            <a:spLocks noChangeAspect="1" noChangeArrowheads="1"/>
          </p:cNvSpPr>
          <p:nvPr/>
        </p:nvSpPr>
        <p:spPr bwMode="auto">
          <a:xfrm>
            <a:off x="308796"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6" name="Title 1"/>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Single Logical Unit of Work – Explicit Transactions</a:t>
            </a:r>
          </a:p>
        </p:txBody>
      </p:sp>
      <p:grpSp>
        <p:nvGrpSpPr>
          <p:cNvPr id="8" name="Group 7">
            <a:extLst>
              <a:ext uri="{FF2B5EF4-FFF2-40B4-BE49-F238E27FC236}">
                <a16:creationId xmlns:a16="http://schemas.microsoft.com/office/drawing/2014/main" id="{30A88CED-183B-4229-83A9-5BA0D3DF6AD5}"/>
              </a:ext>
            </a:extLst>
          </p:cNvPr>
          <p:cNvGrpSpPr/>
          <p:nvPr/>
        </p:nvGrpSpPr>
        <p:grpSpPr>
          <a:xfrm>
            <a:off x="694446" y="1158962"/>
            <a:ext cx="10803110" cy="5214230"/>
            <a:chOff x="612774" y="1132514"/>
            <a:chExt cx="10804643" cy="5214969"/>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8314" y="2588578"/>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28936" y="3150009"/>
              <a:ext cx="1396015" cy="646409"/>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Di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275882" y="2588578"/>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Jack</a:t>
                </a:r>
              </a:p>
            </p:txBody>
          </p:sp>
        </p:gr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10804643" cy="46391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14225"/>
              <a:r>
                <a:rPr lang="en-US" sz="2800" dirty="0">
                  <a:solidFill>
                    <a:prstClr val="white"/>
                  </a:solidFill>
                  <a:latin typeface="Segoe UI"/>
                </a:rPr>
                <a:t>Transaction 1</a:t>
              </a:r>
            </a:p>
          </p:txBody>
        </p:sp>
        <p:grpSp>
          <p:nvGrpSpPr>
            <p:cNvPr id="7" name="Group 6">
              <a:extLst>
                <a:ext uri="{FF2B5EF4-FFF2-40B4-BE49-F238E27FC236}">
                  <a16:creationId xmlns:a16="http://schemas.microsoft.com/office/drawing/2014/main" id="{20CB5A57-BE27-4CB4-BD6C-4E3363C5BE0E}"/>
                </a:ext>
              </a:extLst>
            </p:cNvPr>
            <p:cNvGrpSpPr/>
            <p:nvPr/>
          </p:nvGrpSpPr>
          <p:grpSpPr>
            <a:xfrm>
              <a:off x="3808403" y="1809203"/>
              <a:ext cx="4068131" cy="3146945"/>
              <a:chOff x="3747440" y="1809203"/>
              <a:chExt cx="4068131" cy="3146945"/>
            </a:xfrm>
          </p:grpSpPr>
          <p:sp>
            <p:nvSpPr>
              <p:cNvPr id="22" name="Rounded Rectangle 3">
                <a:extLst>
                  <a:ext uri="{FF2B5EF4-FFF2-40B4-BE49-F238E27FC236}">
                    <a16:creationId xmlns:a16="http://schemas.microsoft.com/office/drawing/2014/main" id="{32D1F96F-3683-4075-AC11-5EE32177CFF3}"/>
                  </a:ext>
                </a:extLst>
              </p:cNvPr>
              <p:cNvSpPr/>
              <p:nvPr/>
            </p:nvSpPr>
            <p:spPr>
              <a:xfrm>
                <a:off x="3747440" y="1809203"/>
                <a:ext cx="4068131" cy="314694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4" name="Picture 3">
                <a:extLst>
                  <a:ext uri="{FF2B5EF4-FFF2-40B4-BE49-F238E27FC236}">
                    <a16:creationId xmlns:a16="http://schemas.microsoft.com/office/drawing/2014/main" id="{77A4C68B-DF2F-4D14-92A9-EE9D25BFE99B}"/>
                  </a:ext>
                </a:extLst>
              </p:cNvPr>
              <p:cNvPicPr>
                <a:picLocks noChangeAspect="1"/>
              </p:cNvPicPr>
              <p:nvPr/>
            </p:nvPicPr>
            <p:blipFill>
              <a:blip r:embed="rId6"/>
              <a:stretch>
                <a:fillRect/>
              </a:stretch>
            </p:blipFill>
            <p:spPr>
              <a:xfrm>
                <a:off x="4172129" y="2148606"/>
                <a:ext cx="3282408" cy="2474479"/>
              </a:xfrm>
              <a:prstGeom prst="rect">
                <a:avLst/>
              </a:prstGeom>
            </p:spPr>
          </p:pic>
        </p:grpSp>
        <p:grpSp>
          <p:nvGrpSpPr>
            <p:cNvPr id="5" name="Group 4">
              <a:extLst>
                <a:ext uri="{FF2B5EF4-FFF2-40B4-BE49-F238E27FC236}">
                  <a16:creationId xmlns:a16="http://schemas.microsoft.com/office/drawing/2014/main" id="{13C5B8C2-B6DB-4ACE-AC22-52E550E8DF10}"/>
                </a:ext>
              </a:extLst>
            </p:cNvPr>
            <p:cNvGrpSpPr/>
            <p:nvPr/>
          </p:nvGrpSpPr>
          <p:grpSpPr>
            <a:xfrm>
              <a:off x="4716735" y="5204483"/>
              <a:ext cx="2596720" cy="1143000"/>
              <a:chOff x="4797640" y="1224320"/>
              <a:chExt cx="2596720" cy="1143000"/>
            </a:xfrm>
          </p:grpSpPr>
          <p:sp>
            <p:nvSpPr>
              <p:cNvPr id="31" name="Arrow: Right 30">
                <a:extLst>
                  <a:ext uri="{FF2B5EF4-FFF2-40B4-BE49-F238E27FC236}">
                    <a16:creationId xmlns:a16="http://schemas.microsoft.com/office/drawing/2014/main" id="{1EABDD45-FA95-4956-9B72-F263097D1441}"/>
                  </a:ext>
                </a:extLst>
              </p:cNvPr>
              <p:cNvSpPr/>
              <p:nvPr/>
            </p:nvSpPr>
            <p:spPr>
              <a:xfrm>
                <a:off x="4797640" y="1224320"/>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349213" y="1472655"/>
                <a:ext cx="1425730" cy="657424"/>
              </a:xfrm>
              <a:prstGeom prst="rect">
                <a:avLst/>
              </a:prstGeom>
            </p:spPr>
            <p:txBody>
              <a:bodyPr wrap="square">
                <a:spAutoFit/>
              </a:bodyPr>
              <a:lstStyle/>
              <a:p>
                <a:pPr defTabSz="914225"/>
                <a:r>
                  <a:rPr lang="en-US" sz="3600" dirty="0">
                    <a:solidFill>
                      <a:prstClr val="white"/>
                    </a:solidFill>
                    <a:latin typeface="Segoe UI"/>
                  </a:rPr>
                  <a:t>$200</a:t>
                </a:r>
              </a:p>
            </p:txBody>
          </p:sp>
        </p:grpSp>
      </p:grpSp>
    </p:spTree>
    <p:extLst>
      <p:ext uri="{BB962C8B-B14F-4D97-AF65-F5344CB8AC3E}">
        <p14:creationId xmlns:p14="http://schemas.microsoft.com/office/powerpoint/2010/main" val="28623611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Implicit transaction mode</a:t>
            </a:r>
          </a:p>
        </p:txBody>
      </p:sp>
      <p:graphicFrame>
        <p:nvGraphicFramePr>
          <p:cNvPr id="5" name="Content Placeholder 4">
            <a:extLst>
              <a:ext uri="{FF2B5EF4-FFF2-40B4-BE49-F238E27FC236}">
                <a16:creationId xmlns:a16="http://schemas.microsoft.com/office/drawing/2014/main" id="{04F72BFE-4C2C-4C23-98B9-ECD56D0BE91F}"/>
              </a:ext>
            </a:extLst>
          </p:cNvPr>
          <p:cNvGraphicFramePr>
            <a:graphicFrameLocks noGrp="1"/>
          </p:cNvGraphicFramePr>
          <p:nvPr>
            <p:ph sz="quarter" idx="13"/>
            <p:extLst>
              <p:ext uri="{D42A27DB-BD31-4B8C-83A1-F6EECF244321}">
                <p14:modId xmlns:p14="http://schemas.microsoft.com/office/powerpoint/2010/main" val="321808911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2820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siderations for using transactions</a:t>
            </a:r>
          </a:p>
        </p:txBody>
      </p:sp>
      <p:graphicFrame>
        <p:nvGraphicFramePr>
          <p:cNvPr id="5" name="Content Placeholder 4">
            <a:extLst>
              <a:ext uri="{FF2B5EF4-FFF2-40B4-BE49-F238E27FC236}">
                <a16:creationId xmlns:a16="http://schemas.microsoft.com/office/drawing/2014/main" id="{66AE8D0F-0C1A-4425-A31A-630369385BC7}"/>
              </a:ext>
            </a:extLst>
          </p:cNvPr>
          <p:cNvGraphicFramePr>
            <a:graphicFrameLocks noGrp="1"/>
          </p:cNvGraphicFramePr>
          <p:nvPr>
            <p:ph sz="quarter" idx="13"/>
            <p:extLst>
              <p:ext uri="{D42A27DB-BD31-4B8C-83A1-F6EECF244321}">
                <p14:modId xmlns:p14="http://schemas.microsoft.com/office/powerpoint/2010/main" val="1068676658"/>
              </p:ext>
            </p:extLst>
          </p:nvPr>
        </p:nvGraphicFramePr>
        <p:xfrm>
          <a:off x="655638" y="1408114"/>
          <a:ext cx="10880726" cy="345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312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Using IMPLICIT TRANSACTIONS and its impact on server </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678916652"/>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5559019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8E6B403F-E82E-4E77-B7BD-8E3EEEB9CC70}"/>
              </a:ext>
            </a:extLst>
          </p:cNvPr>
          <p:cNvSpPr/>
          <p:nvPr/>
        </p:nvSpPr>
        <p:spPr>
          <a:xfrm>
            <a:off x="1835087" y="4713596"/>
            <a:ext cx="3584448" cy="99568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	BEGIN</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ROLLBACK</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TRANSACTION</a:t>
            </a:r>
            <a:endParaRPr lang="en-US" dirty="0">
              <a:solidFill>
                <a:srgbClr val="0000FF"/>
              </a:solidFill>
              <a:latin typeface="Consolas" panose="020B0609020204030204" pitchFamily="49" charset="0"/>
            </a:endParaRPr>
          </a:p>
        </p:txBody>
      </p:sp>
    </p:spTree>
    <p:extLst>
      <p:ext uri="{BB962C8B-B14F-4D97-AF65-F5344CB8AC3E}">
        <p14:creationId xmlns:p14="http://schemas.microsoft.com/office/powerpoint/2010/main" val="1359250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fr-FR" dirty="0"/>
              <a:t>Lesson 2: SQL Server Isolation Levels</a:t>
            </a:r>
            <a:endParaRPr lang="en-US" dirty="0"/>
          </a:p>
        </p:txBody>
      </p:sp>
    </p:spTree>
    <p:extLst>
      <p:ext uri="{BB962C8B-B14F-4D97-AF65-F5344CB8AC3E}">
        <p14:creationId xmlns:p14="http://schemas.microsoft.com/office/powerpoint/2010/main" val="28940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090" y="2071176"/>
            <a:ext cx="2895189" cy="30426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Bent Arrow 16"/>
          <p:cNvSpPr/>
          <p:nvPr/>
        </p:nvSpPr>
        <p:spPr>
          <a:xfrm rot="5400000">
            <a:off x="5329940" y="1817981"/>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8" name="Bent Arrow 17"/>
          <p:cNvSpPr/>
          <p:nvPr/>
        </p:nvSpPr>
        <p:spPr>
          <a:xfrm rot="16200000" flipV="1">
            <a:off x="5359356" y="4024714"/>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509" y="2427939"/>
            <a:ext cx="1752352" cy="2071070"/>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 name="Rounded Rectangle 8"/>
          <p:cNvSpPr/>
          <p:nvPr/>
        </p:nvSpPr>
        <p:spPr>
          <a:xfrm>
            <a:off x="775897" y="1328382"/>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1" name="Picture 10"/>
          <p:cNvPicPr>
            <a:picLocks noChangeAspect="1"/>
          </p:cNvPicPr>
          <p:nvPr/>
        </p:nvPicPr>
        <p:blipFill>
          <a:blip r:embed="rId2"/>
          <a:stretch>
            <a:fillRect/>
          </a:stretch>
        </p:blipFill>
        <p:spPr>
          <a:xfrm>
            <a:off x="6302358" y="3267169"/>
            <a:ext cx="5384525" cy="709900"/>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717741" y="3556305"/>
            <a:ext cx="406342" cy="652371"/>
          </a:xfrm>
          <a:prstGeom prst="rect">
            <a:avLst/>
          </a:prstGeom>
          <a:noFill/>
          <a:ln w="9525">
            <a:noFill/>
            <a:miter lim="800000"/>
            <a:headEnd/>
            <a:tailEnd/>
          </a:ln>
        </p:spPr>
      </p:pic>
      <p:sp>
        <p:nvSpPr>
          <p:cNvPr id="13" name="Rounded Rectangle 12"/>
          <p:cNvSpPr/>
          <p:nvPr/>
        </p:nvSpPr>
        <p:spPr>
          <a:xfrm>
            <a:off x="775897" y="4349671"/>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Rounded Rectangle 19"/>
          <p:cNvSpPr/>
          <p:nvPr/>
        </p:nvSpPr>
        <p:spPr>
          <a:xfrm>
            <a:off x="2310185" y="2533040"/>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TextBox 18"/>
          <p:cNvSpPr txBox="1"/>
          <p:nvPr/>
        </p:nvSpPr>
        <p:spPr>
          <a:xfrm>
            <a:off x="2491436" y="2579677"/>
            <a:ext cx="225940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1</a:t>
            </a:r>
          </a:p>
        </p:txBody>
      </p:sp>
      <p:sp>
        <p:nvSpPr>
          <p:cNvPr id="22" name="Rounded Rectangle 21"/>
          <p:cNvSpPr/>
          <p:nvPr/>
        </p:nvSpPr>
        <p:spPr>
          <a:xfrm>
            <a:off x="2310185" y="4083092"/>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TextBox 22"/>
          <p:cNvSpPr txBox="1"/>
          <p:nvPr/>
        </p:nvSpPr>
        <p:spPr>
          <a:xfrm>
            <a:off x="2491436" y="4129729"/>
            <a:ext cx="2259403" cy="37479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Transaction 2</a:t>
            </a:r>
          </a:p>
        </p:txBody>
      </p:sp>
      <p:pic>
        <p:nvPicPr>
          <p:cNvPr id="26" name="Picture 25"/>
          <p:cNvPicPr>
            <a:picLocks noChangeAspect="1"/>
          </p:cNvPicPr>
          <p:nvPr/>
        </p:nvPicPr>
        <p:blipFill>
          <a:blip r:embed="rId4"/>
          <a:stretch>
            <a:fillRect/>
          </a:stretch>
        </p:blipFill>
        <p:spPr>
          <a:xfrm>
            <a:off x="908319" y="1447281"/>
            <a:ext cx="4685635" cy="1019030"/>
          </a:xfrm>
          <a:prstGeom prst="rect">
            <a:avLst/>
          </a:prstGeom>
        </p:spPr>
      </p:pic>
      <p:pic>
        <p:nvPicPr>
          <p:cNvPr id="28" name="Picture 27"/>
          <p:cNvPicPr>
            <a:picLocks noChangeAspect="1"/>
          </p:cNvPicPr>
          <p:nvPr/>
        </p:nvPicPr>
        <p:blipFill>
          <a:blip r:embed="rId5"/>
          <a:stretch>
            <a:fillRect/>
          </a:stretch>
        </p:blipFill>
        <p:spPr>
          <a:xfrm>
            <a:off x="875884" y="4629055"/>
            <a:ext cx="4657064" cy="961888"/>
          </a:xfrm>
          <a:prstGeom prst="rect">
            <a:avLst/>
          </a:prstGeom>
        </p:spPr>
      </p:pic>
      <p:sp>
        <p:nvSpPr>
          <p:cNvPr id="21" name="Title 1"/>
          <p:cNvSpPr txBox="1">
            <a:spLocks/>
          </p:cNvSpPr>
          <p:nvPr/>
        </p:nvSpPr>
        <p:spPr>
          <a:xfrm>
            <a:off x="444859" y="29082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marL="0" marR="0" lvl="0" indent="0" algn="l" defTabSz="457025" rtl="0" eaLnBrk="1" fontAlgn="auto" latinLnBrk="0" hangingPunct="1">
              <a:lnSpc>
                <a:spcPts val="3500"/>
              </a:lnSpc>
              <a:spcBef>
                <a:spcPct val="0"/>
              </a:spcBef>
              <a:spcAft>
                <a:spcPts val="0"/>
              </a:spcAft>
              <a:buClrTx/>
              <a:buSzTx/>
              <a:buFontTx/>
              <a:buNone/>
              <a:tabLst/>
              <a:defRPr/>
            </a:pPr>
            <a:r>
              <a:rPr kumimoji="0" lang="en-US" altLang="en-US" sz="3000" b="0" i="0" u="none" strike="noStrike" kern="1200" cap="none" spc="0" normalizeH="0" baseline="0" noProof="0" dirty="0">
                <a:ln>
                  <a:noFill/>
                </a:ln>
                <a:solidFill>
                  <a:prstClr val="black"/>
                </a:solidFill>
                <a:effectLst/>
                <a:uLnTx/>
                <a:uFillTx/>
                <a:latin typeface="Segoe UI Semibold" panose="020B0702040204020203" pitchFamily="34" charset="0"/>
                <a:ea typeface="+mj-ea"/>
                <a:cs typeface="Segoe UI Light"/>
              </a:rPr>
              <a:t>What is a Lock?</a:t>
            </a:r>
          </a:p>
        </p:txBody>
      </p:sp>
    </p:spTree>
    <p:extLst>
      <p:ext uri="{BB962C8B-B14F-4D97-AF65-F5344CB8AC3E}">
        <p14:creationId xmlns:p14="http://schemas.microsoft.com/office/powerpoint/2010/main" val="20686337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3B63C-511A-4A22-B722-9028EEF38AFA}"/>
              </a:ext>
            </a:extLst>
          </p:cNvPr>
          <p:cNvSpPr>
            <a:spLocks noGrp="1"/>
          </p:cNvSpPr>
          <p:nvPr>
            <p:ph type="title"/>
          </p:nvPr>
        </p:nvSpPr>
        <p:spPr/>
        <p:txBody>
          <a:bodyPr/>
          <a:lstStyle/>
          <a:p>
            <a:r>
              <a:rPr lang="en-US" dirty="0"/>
              <a:t>Types of concurrency problems </a:t>
            </a:r>
          </a:p>
        </p:txBody>
      </p:sp>
      <p:sp>
        <p:nvSpPr>
          <p:cNvPr id="3" name="Content Placeholder 2">
            <a:extLst>
              <a:ext uri="{FF2B5EF4-FFF2-40B4-BE49-F238E27FC236}">
                <a16:creationId xmlns:a16="http://schemas.microsoft.com/office/drawing/2014/main" id="{A33C330C-9E9C-490C-ACDC-2F64DE701CF3}"/>
              </a:ext>
            </a:extLst>
          </p:cNvPr>
          <p:cNvSpPr>
            <a:spLocks noGrp="1"/>
          </p:cNvSpPr>
          <p:nvPr>
            <p:ph sz="quarter" idx="13"/>
          </p:nvPr>
        </p:nvSpPr>
        <p:spPr/>
        <p:txBody>
          <a:bodyPr/>
          <a:lstStyle/>
          <a:p>
            <a:r>
              <a:rPr lang="en-US" dirty="0"/>
              <a:t>Following are common concurrency problems in SQL Server</a:t>
            </a:r>
          </a:p>
          <a:p>
            <a:endParaRPr lang="en-US" dirty="0"/>
          </a:p>
          <a:p>
            <a:endParaRPr lang="en-US" dirty="0"/>
          </a:p>
        </p:txBody>
      </p:sp>
      <p:graphicFrame>
        <p:nvGraphicFramePr>
          <p:cNvPr id="5" name="Diagram 4">
            <a:extLst>
              <a:ext uri="{FF2B5EF4-FFF2-40B4-BE49-F238E27FC236}">
                <a16:creationId xmlns:a16="http://schemas.microsoft.com/office/drawing/2014/main" id="{97EAB50E-C8AA-497A-99F1-D35A36453435}"/>
              </a:ext>
            </a:extLst>
          </p:cNvPr>
          <p:cNvGraphicFramePr/>
          <p:nvPr>
            <p:extLst>
              <p:ext uri="{D42A27DB-BD31-4B8C-83A1-F6EECF244321}">
                <p14:modId xmlns:p14="http://schemas.microsoft.com/office/powerpoint/2010/main" val="2674666077"/>
              </p:ext>
            </p:extLst>
          </p:nvPr>
        </p:nvGraphicFramePr>
        <p:xfrm>
          <a:off x="655637" y="1983036"/>
          <a:ext cx="10880726" cy="4244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4467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NSI SQL Isolation Level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1665"/>
          </a:xfrm>
        </p:spPr>
        <p:txBody>
          <a:bodyPr/>
          <a:lstStyle/>
          <a:p>
            <a:pPr marL="0" indent="0">
              <a:buNone/>
            </a:pPr>
            <a:r>
              <a:rPr lang="en-US" dirty="0"/>
              <a:t>Isolation is a trade-off between correctness and concurrency.</a:t>
            </a:r>
          </a:p>
        </p:txBody>
      </p:sp>
      <p:graphicFrame>
        <p:nvGraphicFramePr>
          <p:cNvPr id="5" name="Group 4">
            <a:extLst>
              <a:ext uri="{FF2B5EF4-FFF2-40B4-BE49-F238E27FC236}">
                <a16:creationId xmlns:a16="http://schemas.microsoft.com/office/drawing/2014/main" id="{51B292C3-67DC-4879-8690-2437478F401F}"/>
              </a:ext>
            </a:extLst>
          </p:cNvPr>
          <p:cNvGraphicFramePr>
            <a:graphicFrameLocks noGrp="1"/>
          </p:cNvGraphicFramePr>
          <p:nvPr>
            <p:extLst>
              <p:ext uri="{D42A27DB-BD31-4B8C-83A1-F6EECF244321}">
                <p14:modId xmlns:p14="http://schemas.microsoft.com/office/powerpoint/2010/main" val="2299615043"/>
              </p:ext>
            </p:extLst>
          </p:nvPr>
        </p:nvGraphicFramePr>
        <p:xfrm>
          <a:off x="655638" y="2067137"/>
          <a:ext cx="10756374" cy="4227730"/>
        </p:xfrm>
        <a:graphic>
          <a:graphicData uri="http://schemas.openxmlformats.org/drawingml/2006/table">
            <a:tbl>
              <a:tblPr firstRow="1">
                <a:tableStyleId>{9DCAF9ED-07DC-4A11-8D7F-57B35C25682E}</a:tableStyleId>
              </a:tblPr>
              <a:tblGrid>
                <a:gridCol w="1899204">
                  <a:extLst>
                    <a:ext uri="{9D8B030D-6E8A-4147-A177-3AD203B41FA5}">
                      <a16:colId xmlns:a16="http://schemas.microsoft.com/office/drawing/2014/main" val="20000"/>
                    </a:ext>
                  </a:extLst>
                </a:gridCol>
                <a:gridCol w="4436768">
                  <a:extLst>
                    <a:ext uri="{9D8B030D-6E8A-4147-A177-3AD203B41FA5}">
                      <a16:colId xmlns:a16="http://schemas.microsoft.com/office/drawing/2014/main" val="20001"/>
                    </a:ext>
                  </a:extLst>
                </a:gridCol>
                <a:gridCol w="970543">
                  <a:extLst>
                    <a:ext uri="{9D8B030D-6E8A-4147-A177-3AD203B41FA5}">
                      <a16:colId xmlns:a16="http://schemas.microsoft.com/office/drawing/2014/main" val="105333869"/>
                    </a:ext>
                  </a:extLst>
                </a:gridCol>
                <a:gridCol w="970543">
                  <a:extLst>
                    <a:ext uri="{9D8B030D-6E8A-4147-A177-3AD203B41FA5}">
                      <a16:colId xmlns:a16="http://schemas.microsoft.com/office/drawing/2014/main" val="2499646284"/>
                    </a:ext>
                  </a:extLst>
                </a:gridCol>
                <a:gridCol w="1317166">
                  <a:extLst>
                    <a:ext uri="{9D8B030D-6E8A-4147-A177-3AD203B41FA5}">
                      <a16:colId xmlns:a16="http://schemas.microsoft.com/office/drawing/2014/main" val="1920458001"/>
                    </a:ext>
                  </a:extLst>
                </a:gridCol>
                <a:gridCol w="1162150">
                  <a:extLst>
                    <a:ext uri="{9D8B030D-6E8A-4147-A177-3AD203B41FA5}">
                      <a16:colId xmlns:a16="http://schemas.microsoft.com/office/drawing/2014/main" val="3863565867"/>
                    </a:ext>
                  </a:extLst>
                </a:gridCol>
              </a:tblGrid>
              <a:tr h="525932">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Isolation Level</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u="none" strike="noStrike" cap="none" normalizeH="0" baseline="0" dirty="0">
                          <a:ln>
                            <a:noFill/>
                          </a:ln>
                          <a:solidFill>
                            <a:schemeClr val="bg1"/>
                          </a:solidFill>
                          <a:effectLst/>
                          <a:latin typeface="Segoe UI" panose="020B0502040204020203" pitchFamily="34" charset="0"/>
                        </a:rPr>
                        <a:t>Locking Duration and Range</a:t>
                      </a:r>
                      <a:endPar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Dirty </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b="1" i="0" u="none" strike="noStrike" cap="none" normalizeH="0" baseline="0" dirty="0">
                          <a:ln>
                            <a:noFill/>
                          </a:ln>
                          <a:solidFill>
                            <a:schemeClr val="bg1"/>
                          </a:solidFill>
                          <a:effectLst/>
                          <a:latin typeface="Segoe UI" panose="020B0502040204020203" pitchFamily="34" charset="0"/>
                          <a:cs typeface="Segoe UI" panose="020B0502040204020203" pitchFamily="34" charset="0"/>
                        </a:rPr>
                        <a:t>Lost Update</a:t>
                      </a: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Non-Repeatable Read</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kumimoji="0" lang="en-US" sz="1600" u="none" strike="noStrike" cap="none" normalizeH="0" baseline="0" dirty="0">
                          <a:ln>
                            <a:noFill/>
                          </a:ln>
                          <a:effectLst/>
                          <a:latin typeface="Segoe UI" panose="020B0502040204020203" pitchFamily="34" charset="0"/>
                        </a:rPr>
                        <a:t>Phantom</a:t>
                      </a:r>
                      <a:endParaRPr kumimoji="0" lang="en-US" sz="1600" b="0" i="0" u="none" strike="noStrike" cap="none" normalizeH="0" baseline="0" dirty="0">
                        <a:ln>
                          <a:noFill/>
                        </a:ln>
                        <a:solidFill>
                          <a:schemeClr val="bg1"/>
                        </a:solidFill>
                        <a:effectLst/>
                        <a:latin typeface="Segoe UI" panose="020B0502040204020203" pitchFamily="34" charset="0"/>
                        <a:cs typeface="Segoe UI" panose="020B0502040204020203" pitchFamily="34" charset="0"/>
                      </a:endParaRPr>
                    </a:p>
                  </a:txBody>
                  <a:tcPr marL="89642" marR="89642" marT="44821" marB="44821" horzOverflow="overflow"/>
                </a:tc>
                <a:extLst>
                  <a:ext uri="{0D108BD9-81ED-4DB2-BD59-A6C34878D82A}">
                    <a16:rowId xmlns:a16="http://schemas.microsoft.com/office/drawing/2014/main" val="10000"/>
                  </a:ext>
                </a:extLst>
              </a:tr>
              <a:tr h="497290">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500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UNCOMMITTE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marR="0" lvl="1" indent="0" algn="l" defTabSz="932742" rtl="0" eaLnBrk="1" fontAlgn="base" latinLnBrk="0" hangingPunct="1">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 locks are taken, so locks taken by other processes aren’t blocking.</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1"/>
                  </a:ext>
                </a:extLst>
              </a:tr>
              <a:tr h="691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AD COMMITTED</a:t>
                      </a:r>
                    </a:p>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b="1" u="none" strike="noStrike" kern="1200" dirty="0">
                          <a:solidFill>
                            <a:schemeClr val="dk1"/>
                          </a:solidFill>
                          <a:effectLst/>
                          <a:latin typeface="Segoe UI" panose="020B0502040204020203" pitchFamily="34" charset="0"/>
                        </a:rPr>
                        <a:t>(Default)</a:t>
                      </a:r>
                      <a:endParaRPr lang="en-US" sz="1600" b="1"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only for the duration of th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Yes</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2"/>
                  </a:ext>
                </a:extLst>
              </a:tr>
              <a:tr h="62377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REPEATABLE READ</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61913" lvl="1" indent="0" algn="l"/>
                      <a:r>
                        <a:rPr lang="en-US" sz="1600" u="none" strike="noStrike" kern="1200" dirty="0">
                          <a:solidFill>
                            <a:schemeClr val="dk1"/>
                          </a:solidFill>
                          <a:effectLst/>
                          <a:latin typeface="Segoe UI" panose="020B0502040204020203" pitchFamily="34" charset="0"/>
                        </a:rPr>
                        <a:t>Shared locks are taken on resources being read.</a:t>
                      </a:r>
                    </a:p>
                    <a:p>
                      <a:pPr marL="619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Yes</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3"/>
                  </a:ext>
                </a:extLst>
              </a:tr>
              <a:tr h="87248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SERIALIZABLE</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112713" lvl="1" indent="0" algn="l"/>
                      <a:r>
                        <a:rPr lang="en-US" sz="1600" u="none" strike="noStrike" kern="1200" dirty="0">
                          <a:solidFill>
                            <a:schemeClr val="dk1"/>
                          </a:solidFill>
                          <a:effectLst/>
                          <a:latin typeface="Segoe UI" panose="020B0502040204020203" pitchFamily="34" charset="0"/>
                        </a:rPr>
                        <a:t>Shared range locks are taken on resources being read and adjacent resources.</a:t>
                      </a:r>
                    </a:p>
                    <a:p>
                      <a:pPr marL="112713" lvl="1" indent="0" algn="l"/>
                      <a:r>
                        <a:rPr lang="en-US" sz="1600" u="none" strike="noStrike" kern="1200" dirty="0">
                          <a:solidFill>
                            <a:schemeClr val="dk1"/>
                          </a:solidFill>
                          <a:effectLst/>
                          <a:latin typeface="Segoe UI" panose="020B0502040204020203" pitchFamily="34" charset="0"/>
                        </a:rPr>
                        <a:t>They are held for the duration of the transaction.</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ea typeface="+mn-ea"/>
                          <a:cs typeface="Segoe UI" panose="020B0502040204020203" pitchFamily="34" charset="0"/>
                        </a:rPr>
                        <a:t>No</a:t>
                      </a: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14400" rtl="0" eaLnBrk="0" fontAlgn="base" latinLnBrk="0" hangingPunct="0">
                        <a:lnSpc>
                          <a:spcPct val="90000"/>
                        </a:lnSpc>
                        <a:spcBef>
                          <a:spcPct val="40000"/>
                        </a:spcBef>
                        <a:spcAft>
                          <a:spcPct val="0"/>
                        </a:spcAft>
                        <a:buClr>
                          <a:srgbClr val="8DACD0"/>
                        </a:buClr>
                        <a:buSzPct val="70000"/>
                        <a:buFont typeface="Wingdings" pitchFamily="2" charset="2"/>
                        <a:buNone/>
                        <a:tabLst/>
                      </a:pPr>
                      <a:r>
                        <a:rPr lang="en-US" sz="1600" u="none" strike="noStrike" kern="1200" dirty="0">
                          <a:solidFill>
                            <a:schemeClr val="dk1"/>
                          </a:solidFill>
                          <a:effectLst/>
                          <a:latin typeface="Segoe UI" panose="020B0502040204020203" pitchFamily="34" charset="0"/>
                        </a:rPr>
                        <a:t>No</a:t>
                      </a:r>
                      <a:endParaRPr lang="en-US" sz="1600" u="none" strike="noStrike" kern="1200" dirty="0">
                        <a:solidFill>
                          <a:schemeClr val="dk1"/>
                        </a:solidFill>
                        <a:effectLst/>
                        <a:latin typeface="Segoe UI" panose="020B0502040204020203" pitchFamily="34" charset="0"/>
                        <a:ea typeface="+mn-ea"/>
                        <a:cs typeface="Segoe UI" panose="020B0502040204020203" pitchFamily="34" charset="0"/>
                      </a:endParaRPr>
                    </a:p>
                  </a:txBody>
                  <a:tcPr marL="89642" marR="89642" marT="44821" marB="44821"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9277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0367" y="1329128"/>
            <a:ext cx="8011265" cy="4628492"/>
          </a:xfrm>
          <a:prstGeom prst="rect">
            <a:avLst/>
          </a:prstGeom>
          <a:ln>
            <a:noFill/>
          </a:ln>
          <a:effectLst>
            <a:outerShdw blurRad="190500" algn="tl" rotWithShape="0">
              <a:srgbClr val="000000">
                <a:alpha val="70000"/>
              </a:srgbClr>
            </a:outerShdw>
          </a:effectLst>
        </p:spPr>
      </p:pic>
      <p:sp>
        <p:nvSpPr>
          <p:cNvPr id="5" name="Title 1"/>
          <p:cNvSpPr>
            <a:spLocks noGrp="1"/>
          </p:cNvSpPr>
          <p:nvPr/>
        </p:nvSpPr>
        <p:spPr bwMode="auto">
          <a:xfrm>
            <a:off x="1813961" y="486"/>
            <a:ext cx="7772885" cy="740559"/>
          </a:xfrm>
          <a:prstGeom prst="rect">
            <a:avLst/>
          </a:prstGeom>
          <a:noFill/>
          <a:ln w="9525">
            <a:noFill/>
            <a:miter lim="800000"/>
            <a:headEnd/>
            <a:tailEnd/>
          </a:ln>
        </p:spPr>
        <p:txBody>
          <a:bodyPr vert="horz" wrap="square" lIns="0" tIns="45713" rIns="91427" bIns="45713" numCol="1" anchor="ctr" anchorCtr="0" compatLnSpc="1">
            <a:prstTxWarp prst="textNoShape">
              <a:avLst/>
            </a:prstTxWarp>
            <a:normAutofit/>
          </a:bodyPr>
          <a:lstStyle>
            <a:lvl1pPr algn="l" rtl="0" eaLnBrk="1" fontAlgn="base" hangingPunct="1">
              <a:lnSpc>
                <a:spcPct val="85000"/>
              </a:lnSpc>
              <a:spcBef>
                <a:spcPct val="0"/>
              </a:spcBef>
              <a:spcAft>
                <a:spcPct val="0"/>
              </a:spcAft>
              <a:buClr>
                <a:srgbClr val="DC0081"/>
              </a:buClr>
              <a:buFont typeface="Wingdings" pitchFamily="2" charset="2"/>
              <a:defRPr sz="2800">
                <a:solidFill>
                  <a:schemeClr val="bg1"/>
                </a:solidFill>
                <a:latin typeface="Segoe UI" pitchFamily="34" charset="0"/>
                <a:ea typeface="Segoe UI" pitchFamily="34" charset="0"/>
                <a:cs typeface="Segoe UI" pitchFamily="34" charset="0"/>
              </a:defRPr>
            </a:lvl1pPr>
            <a:lvl2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2pPr>
            <a:lvl3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3pPr>
            <a:lvl4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4pPr>
            <a:lvl5pPr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5pPr>
            <a:lvl6pPr marL="4572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6pPr>
            <a:lvl7pPr marL="9144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7pPr>
            <a:lvl8pPr marL="13716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8pPr>
            <a:lvl9pPr marL="1828800" algn="l" rtl="0" eaLnBrk="1" fontAlgn="base" hangingPunct="1">
              <a:lnSpc>
                <a:spcPct val="85000"/>
              </a:lnSpc>
              <a:spcBef>
                <a:spcPct val="0"/>
              </a:spcBef>
              <a:spcAft>
                <a:spcPct val="0"/>
              </a:spcAft>
              <a:buClr>
                <a:srgbClr val="DC0081"/>
              </a:buClr>
              <a:buFont typeface="Wingdings" pitchFamily="2" charset="2"/>
              <a:defRPr sz="2400">
                <a:solidFill>
                  <a:schemeClr val="tx1"/>
                </a:solidFill>
                <a:latin typeface="Verdana" pitchFamily="34" charset="0"/>
              </a:defRPr>
            </a:lvl9pPr>
          </a:lstStyle>
          <a:p>
            <a:pPr defTabSz="914225"/>
            <a:r>
              <a:rPr lang="en-US" dirty="0">
                <a:solidFill>
                  <a:prstClr val="white"/>
                </a:solidFill>
              </a:rPr>
              <a:t>Transaction Isolation Levels</a:t>
            </a:r>
          </a:p>
        </p:txBody>
      </p:sp>
      <p:sp>
        <p:nvSpPr>
          <p:cNvPr id="7" name="Title 1">
            <a:extLst>
              <a:ext uri="{FF2B5EF4-FFF2-40B4-BE49-F238E27FC236}">
                <a16:creationId xmlns:a16="http://schemas.microsoft.com/office/drawing/2014/main" id="{B437F7FD-3423-4903-B5C8-65B33A1AD1FA}"/>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200" dirty="0">
                <a:solidFill>
                  <a:prstClr val="black"/>
                </a:solidFill>
              </a:rPr>
              <a:t>Isolation Levels</a:t>
            </a:r>
          </a:p>
        </p:txBody>
      </p:sp>
    </p:spTree>
    <p:extLst>
      <p:ext uri="{BB962C8B-B14F-4D97-AF65-F5344CB8AC3E}">
        <p14:creationId xmlns:p14="http://schemas.microsoft.com/office/powerpoint/2010/main" val="415782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Transactions</a:t>
            </a:r>
          </a:p>
          <a:p>
            <a:r>
              <a:rPr lang="en-US" dirty="0"/>
              <a:t>Lesson 2: SQL Server Isolation Levels</a:t>
            </a:r>
          </a:p>
          <a:p>
            <a:r>
              <a:rPr lang="en-US" dirty="0"/>
              <a:t>Lesson 3: SQL Server Locking</a:t>
            </a:r>
          </a:p>
          <a:p>
            <a:r>
              <a:rPr lang="en-US" dirty="0"/>
              <a:t>Lesson 4: Troubleshooting Concurrency Performance</a:t>
            </a:r>
          </a:p>
        </p:txBody>
      </p:sp>
    </p:spTree>
    <p:extLst>
      <p:ext uri="{BB962C8B-B14F-4D97-AF65-F5344CB8AC3E}">
        <p14:creationId xmlns:p14="http://schemas.microsoft.com/office/powerpoint/2010/main" val="1615560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6618083" y="5695988"/>
            <a:ext cx="4824605" cy="791730"/>
          </a:xfrm>
          <a:prstGeom prst="rect">
            <a:avLst/>
          </a:prstGeom>
        </p:spPr>
      </p:pic>
      <p:pic>
        <p:nvPicPr>
          <p:cNvPr id="12" name="Picture 11"/>
          <p:cNvPicPr>
            <a:picLocks noChangeAspect="1"/>
          </p:cNvPicPr>
          <p:nvPr/>
        </p:nvPicPr>
        <p:blipFill>
          <a:blip r:embed="rId3"/>
          <a:stretch>
            <a:fillRect/>
          </a:stretch>
        </p:blipFill>
        <p:spPr>
          <a:xfrm>
            <a:off x="786422" y="5695988"/>
            <a:ext cx="4787497" cy="791731"/>
          </a:xfrm>
          <a:prstGeom prst="rect">
            <a:avLst/>
          </a:prstGeom>
        </p:spPr>
      </p:pic>
      <p:sp>
        <p:nvSpPr>
          <p:cNvPr id="9" name="Title 1">
            <a:extLst>
              <a:ext uri="{FF2B5EF4-FFF2-40B4-BE49-F238E27FC236}">
                <a16:creationId xmlns:a16="http://schemas.microsoft.com/office/drawing/2014/main" id="{DBA00458-1F10-45F1-8602-E50466632FD0}"/>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Lost Updates</a:t>
            </a:r>
          </a:p>
        </p:txBody>
      </p:sp>
      <p:sp>
        <p:nvSpPr>
          <p:cNvPr id="7" name="TextBox 6">
            <a:extLst>
              <a:ext uri="{FF2B5EF4-FFF2-40B4-BE49-F238E27FC236}">
                <a16:creationId xmlns:a16="http://schemas.microsoft.com/office/drawing/2014/main" id="{F512B7EB-B613-E911-B6D5-6317ECE3E39C}"/>
              </a:ext>
            </a:extLst>
          </p:cNvPr>
          <p:cNvSpPr txBox="1"/>
          <p:nvPr/>
        </p:nvSpPr>
        <p:spPr>
          <a:xfrm>
            <a:off x="659133" y="766144"/>
            <a:ext cx="5042073" cy="4770537"/>
          </a:xfrm>
          <a:custGeom>
            <a:avLst/>
            <a:gdLst>
              <a:gd name="connsiteX0" fmla="*/ 0 w 5042073"/>
              <a:gd name="connsiteY0" fmla="*/ 0 h 4770537"/>
              <a:gd name="connsiteX1" fmla="*/ 680680 w 5042073"/>
              <a:gd name="connsiteY1" fmla="*/ 0 h 4770537"/>
              <a:gd name="connsiteX2" fmla="*/ 1310939 w 5042073"/>
              <a:gd name="connsiteY2" fmla="*/ 0 h 4770537"/>
              <a:gd name="connsiteX3" fmla="*/ 1840357 w 5042073"/>
              <a:gd name="connsiteY3" fmla="*/ 0 h 4770537"/>
              <a:gd name="connsiteX4" fmla="*/ 2470616 w 5042073"/>
              <a:gd name="connsiteY4" fmla="*/ 0 h 4770537"/>
              <a:gd name="connsiteX5" fmla="*/ 3151296 w 5042073"/>
              <a:gd name="connsiteY5" fmla="*/ 0 h 4770537"/>
              <a:gd name="connsiteX6" fmla="*/ 3630293 w 5042073"/>
              <a:gd name="connsiteY6" fmla="*/ 0 h 4770537"/>
              <a:gd name="connsiteX7" fmla="*/ 4109289 w 5042073"/>
              <a:gd name="connsiteY7" fmla="*/ 0 h 4770537"/>
              <a:gd name="connsiteX8" fmla="*/ 5042073 w 5042073"/>
              <a:gd name="connsiteY8" fmla="*/ 0 h 4770537"/>
              <a:gd name="connsiteX9" fmla="*/ 5042073 w 5042073"/>
              <a:gd name="connsiteY9" fmla="*/ 586095 h 4770537"/>
              <a:gd name="connsiteX10" fmla="*/ 5042073 w 5042073"/>
              <a:gd name="connsiteY10" fmla="*/ 1172189 h 4770537"/>
              <a:gd name="connsiteX11" fmla="*/ 5042073 w 5042073"/>
              <a:gd name="connsiteY11" fmla="*/ 1710578 h 4770537"/>
              <a:gd name="connsiteX12" fmla="*/ 5042073 w 5042073"/>
              <a:gd name="connsiteY12" fmla="*/ 2439789 h 4770537"/>
              <a:gd name="connsiteX13" fmla="*/ 5042073 w 5042073"/>
              <a:gd name="connsiteY13" fmla="*/ 3121294 h 4770537"/>
              <a:gd name="connsiteX14" fmla="*/ 5042073 w 5042073"/>
              <a:gd name="connsiteY14" fmla="*/ 3898210 h 4770537"/>
              <a:gd name="connsiteX15" fmla="*/ 5042073 w 5042073"/>
              <a:gd name="connsiteY15" fmla="*/ 4770537 h 4770537"/>
              <a:gd name="connsiteX16" fmla="*/ 4462235 w 5042073"/>
              <a:gd name="connsiteY16" fmla="*/ 4770537 h 4770537"/>
              <a:gd name="connsiteX17" fmla="*/ 3781555 w 5042073"/>
              <a:gd name="connsiteY17" fmla="*/ 4770537 h 4770537"/>
              <a:gd name="connsiteX18" fmla="*/ 3050454 w 5042073"/>
              <a:gd name="connsiteY18" fmla="*/ 4770537 h 4770537"/>
              <a:gd name="connsiteX19" fmla="*/ 2420195 w 5042073"/>
              <a:gd name="connsiteY19" fmla="*/ 4770537 h 4770537"/>
              <a:gd name="connsiteX20" fmla="*/ 1890777 w 5042073"/>
              <a:gd name="connsiteY20" fmla="*/ 4770537 h 4770537"/>
              <a:gd name="connsiteX21" fmla="*/ 1361360 w 5042073"/>
              <a:gd name="connsiteY21" fmla="*/ 4770537 h 4770537"/>
              <a:gd name="connsiteX22" fmla="*/ 630259 w 5042073"/>
              <a:gd name="connsiteY22" fmla="*/ 4770537 h 4770537"/>
              <a:gd name="connsiteX23" fmla="*/ 0 w 5042073"/>
              <a:gd name="connsiteY23" fmla="*/ 4770537 h 4770537"/>
              <a:gd name="connsiteX24" fmla="*/ 0 w 5042073"/>
              <a:gd name="connsiteY24" fmla="*/ 3993621 h 4770537"/>
              <a:gd name="connsiteX25" fmla="*/ 0 w 5042073"/>
              <a:gd name="connsiteY25" fmla="*/ 3264410 h 4770537"/>
              <a:gd name="connsiteX26" fmla="*/ 0 w 5042073"/>
              <a:gd name="connsiteY26" fmla="*/ 2630610 h 4770537"/>
              <a:gd name="connsiteX27" fmla="*/ 0 w 5042073"/>
              <a:gd name="connsiteY27" fmla="*/ 2092221 h 4770537"/>
              <a:gd name="connsiteX28" fmla="*/ 0 w 5042073"/>
              <a:gd name="connsiteY28" fmla="*/ 1458421 h 4770537"/>
              <a:gd name="connsiteX29" fmla="*/ 0 w 5042073"/>
              <a:gd name="connsiteY29" fmla="*/ 681505 h 4770537"/>
              <a:gd name="connsiteX30" fmla="*/ 0 w 5042073"/>
              <a:gd name="connsiteY30" fmla="*/ 0 h 477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42073" h="4770537" extrusionOk="0">
                <a:moveTo>
                  <a:pt x="0" y="0"/>
                </a:moveTo>
                <a:cubicBezTo>
                  <a:pt x="288662" y="-17294"/>
                  <a:pt x="351567" y="27669"/>
                  <a:pt x="680680" y="0"/>
                </a:cubicBezTo>
                <a:cubicBezTo>
                  <a:pt x="1009793" y="-27669"/>
                  <a:pt x="1076711" y="30761"/>
                  <a:pt x="1310939" y="0"/>
                </a:cubicBezTo>
                <a:cubicBezTo>
                  <a:pt x="1545167" y="-30761"/>
                  <a:pt x="1679377" y="4011"/>
                  <a:pt x="1840357" y="0"/>
                </a:cubicBezTo>
                <a:cubicBezTo>
                  <a:pt x="2001337" y="-4011"/>
                  <a:pt x="2307418" y="-30321"/>
                  <a:pt x="2470616" y="0"/>
                </a:cubicBezTo>
                <a:cubicBezTo>
                  <a:pt x="2633814" y="30321"/>
                  <a:pt x="2866428" y="31338"/>
                  <a:pt x="3151296" y="0"/>
                </a:cubicBezTo>
                <a:cubicBezTo>
                  <a:pt x="3436164" y="-31338"/>
                  <a:pt x="3430547" y="11608"/>
                  <a:pt x="3630293" y="0"/>
                </a:cubicBezTo>
                <a:cubicBezTo>
                  <a:pt x="3830039" y="-11608"/>
                  <a:pt x="3975060" y="-7359"/>
                  <a:pt x="4109289" y="0"/>
                </a:cubicBezTo>
                <a:cubicBezTo>
                  <a:pt x="4243518" y="7359"/>
                  <a:pt x="4624749" y="-17753"/>
                  <a:pt x="5042073" y="0"/>
                </a:cubicBezTo>
                <a:cubicBezTo>
                  <a:pt x="5068860" y="120345"/>
                  <a:pt x="5023933" y="380446"/>
                  <a:pt x="5042073" y="586095"/>
                </a:cubicBezTo>
                <a:cubicBezTo>
                  <a:pt x="5060213" y="791744"/>
                  <a:pt x="5059899" y="963143"/>
                  <a:pt x="5042073" y="1172189"/>
                </a:cubicBezTo>
                <a:cubicBezTo>
                  <a:pt x="5024247" y="1381235"/>
                  <a:pt x="5057343" y="1476322"/>
                  <a:pt x="5042073" y="1710578"/>
                </a:cubicBezTo>
                <a:cubicBezTo>
                  <a:pt x="5026803" y="1944834"/>
                  <a:pt x="5063304" y="2094614"/>
                  <a:pt x="5042073" y="2439789"/>
                </a:cubicBezTo>
                <a:cubicBezTo>
                  <a:pt x="5020842" y="2784964"/>
                  <a:pt x="5014087" y="2806343"/>
                  <a:pt x="5042073" y="3121294"/>
                </a:cubicBezTo>
                <a:cubicBezTo>
                  <a:pt x="5070059" y="3436246"/>
                  <a:pt x="5066189" y="3683948"/>
                  <a:pt x="5042073" y="3898210"/>
                </a:cubicBezTo>
                <a:cubicBezTo>
                  <a:pt x="5017957" y="4112472"/>
                  <a:pt x="5075451" y="4448910"/>
                  <a:pt x="5042073" y="4770537"/>
                </a:cubicBezTo>
                <a:cubicBezTo>
                  <a:pt x="4818980" y="4798315"/>
                  <a:pt x="4682868" y="4756797"/>
                  <a:pt x="4462235" y="4770537"/>
                </a:cubicBezTo>
                <a:cubicBezTo>
                  <a:pt x="4241602" y="4784277"/>
                  <a:pt x="3921931" y="4775632"/>
                  <a:pt x="3781555" y="4770537"/>
                </a:cubicBezTo>
                <a:cubicBezTo>
                  <a:pt x="3641179" y="4765442"/>
                  <a:pt x="3239888" y="4775214"/>
                  <a:pt x="3050454" y="4770537"/>
                </a:cubicBezTo>
                <a:cubicBezTo>
                  <a:pt x="2861020" y="4765860"/>
                  <a:pt x="2682901" y="4745749"/>
                  <a:pt x="2420195" y="4770537"/>
                </a:cubicBezTo>
                <a:cubicBezTo>
                  <a:pt x="2157490" y="4795325"/>
                  <a:pt x="2106766" y="4791284"/>
                  <a:pt x="1890777" y="4770537"/>
                </a:cubicBezTo>
                <a:cubicBezTo>
                  <a:pt x="1674788" y="4749790"/>
                  <a:pt x="1597736" y="4785762"/>
                  <a:pt x="1361360" y="4770537"/>
                </a:cubicBezTo>
                <a:cubicBezTo>
                  <a:pt x="1124984" y="4755312"/>
                  <a:pt x="864187" y="4777258"/>
                  <a:pt x="630259" y="4770537"/>
                </a:cubicBezTo>
                <a:cubicBezTo>
                  <a:pt x="396331" y="4763816"/>
                  <a:pt x="266949" y="4782038"/>
                  <a:pt x="0" y="4770537"/>
                </a:cubicBezTo>
                <a:cubicBezTo>
                  <a:pt x="-17800" y="4472615"/>
                  <a:pt x="-28754" y="4279348"/>
                  <a:pt x="0" y="3993621"/>
                </a:cubicBezTo>
                <a:cubicBezTo>
                  <a:pt x="28754" y="3707894"/>
                  <a:pt x="-21045" y="3460759"/>
                  <a:pt x="0" y="3264410"/>
                </a:cubicBezTo>
                <a:cubicBezTo>
                  <a:pt x="21045" y="3068061"/>
                  <a:pt x="19400" y="2773061"/>
                  <a:pt x="0" y="2630610"/>
                </a:cubicBezTo>
                <a:cubicBezTo>
                  <a:pt x="-19400" y="2488159"/>
                  <a:pt x="24880" y="2252764"/>
                  <a:pt x="0" y="2092221"/>
                </a:cubicBezTo>
                <a:cubicBezTo>
                  <a:pt x="-24880" y="1931678"/>
                  <a:pt x="-9076" y="1656801"/>
                  <a:pt x="0" y="1458421"/>
                </a:cubicBezTo>
                <a:cubicBezTo>
                  <a:pt x="9076" y="1260041"/>
                  <a:pt x="-23890" y="1022620"/>
                  <a:pt x="0" y="681505"/>
                </a:cubicBezTo>
                <a:cubicBezTo>
                  <a:pt x="23890" y="340390"/>
                  <a:pt x="-11236" y="227576"/>
                  <a:pt x="0" y="0"/>
                </a:cubicBezTo>
                <a:close/>
              </a:path>
            </a:pathLst>
          </a:custGeom>
          <a:noFill/>
          <a:ln>
            <a:solidFill>
              <a:schemeClr val="tx1"/>
            </a:solidFill>
            <a:extLst>
              <a:ext uri="{C807C97D-BFC1-408E-A445-0C87EB9F89A2}">
                <ask:lineSketchStyleProps xmlns:ask="http://schemas.microsoft.com/office/drawing/2018/sketchyshapes" sd="3986075488">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Lost Update - Session 1</a:t>
            </a:r>
            <a:endParaRPr lang="en-US" sz="1600" dirty="0">
              <a:solidFill>
                <a:srgbClr val="000000"/>
              </a:solidFill>
              <a:latin typeface="Consolas" panose="020B0609020204030204" pitchFamily="49" charset="0"/>
            </a:endParaRPr>
          </a:p>
          <a:p>
            <a:endParaRPr lang="en-US" sz="1600" dirty="0">
              <a:solidFill>
                <a:srgbClr val="0000FF"/>
              </a:solidFill>
              <a:latin typeface="Consolas" panose="020B0609020204030204" pitchFamily="49" charset="0"/>
            </a:endParaRPr>
          </a:p>
          <a:p>
            <a:r>
              <a:rPr lang="en-US" sz="1600" dirty="0">
                <a:solidFill>
                  <a:srgbClr val="0000FF"/>
                </a:solidFill>
                <a:latin typeface="Consolas" panose="020B0609020204030204" pitchFamily="49" charset="0"/>
              </a:rPr>
              <a:t>DECLARE</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i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 </a:t>
            </a:r>
            <a:r>
              <a:rPr lang="en-US" sz="1600" dirty="0">
                <a:solidFill>
                  <a:srgbClr val="0000FF"/>
                </a:solidFill>
                <a:latin typeface="Consolas" panose="020B0609020204030204" pitchFamily="49" charset="0"/>
              </a:rPr>
              <a:t>in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LEC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 </a:t>
            </a:r>
          </a:p>
          <a:p>
            <a:r>
              <a:rPr lang="en-US" sz="1600" dirty="0">
                <a:solidFill>
                  <a:srgbClr val="0000FF"/>
                </a:solidFill>
                <a:latin typeface="Consolas" panose="020B0609020204030204" pitchFamily="49" charset="0"/>
              </a:rPr>
              <a:t>	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New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300</a:t>
            </a:r>
          </a:p>
          <a:p>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r>
              <a:rPr lang="en-US" sz="1600" dirty="0">
                <a:solidFill>
                  <a:srgbClr val="FF00FF"/>
                </a:solidFill>
                <a:latin typeface="Consolas" panose="020B0609020204030204" pitchFamily="49" charset="0"/>
              </a:rPr>
              <a:t>	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	SELECT</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OldBalanc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r>
              <a:rPr lang="en-US" sz="1600" dirty="0">
                <a:solidFill>
                  <a:srgbClr val="0000FF"/>
                </a:solidFill>
                <a:latin typeface="Consolas" panose="020B0609020204030204" pitchFamily="49" charset="0"/>
              </a:rPr>
              <a:t>	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	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10" name="TextBox 9">
            <a:extLst>
              <a:ext uri="{FF2B5EF4-FFF2-40B4-BE49-F238E27FC236}">
                <a16:creationId xmlns:a16="http://schemas.microsoft.com/office/drawing/2014/main" id="{CC3F2CE5-3385-C0F9-179F-467E64DA74CA}"/>
              </a:ext>
            </a:extLst>
          </p:cNvPr>
          <p:cNvSpPr txBox="1"/>
          <p:nvPr/>
        </p:nvSpPr>
        <p:spPr>
          <a:xfrm>
            <a:off x="6618083" y="757709"/>
            <a:ext cx="5096554" cy="4770537"/>
          </a:xfrm>
          <a:custGeom>
            <a:avLst/>
            <a:gdLst>
              <a:gd name="connsiteX0" fmla="*/ 0 w 5096554"/>
              <a:gd name="connsiteY0" fmla="*/ 0 h 4770537"/>
              <a:gd name="connsiteX1" fmla="*/ 484173 w 5096554"/>
              <a:gd name="connsiteY1" fmla="*/ 0 h 4770537"/>
              <a:gd name="connsiteX2" fmla="*/ 1223173 w 5096554"/>
              <a:gd name="connsiteY2" fmla="*/ 0 h 4770537"/>
              <a:gd name="connsiteX3" fmla="*/ 1758311 w 5096554"/>
              <a:gd name="connsiteY3" fmla="*/ 0 h 4770537"/>
              <a:gd name="connsiteX4" fmla="*/ 2293449 w 5096554"/>
              <a:gd name="connsiteY4" fmla="*/ 0 h 4770537"/>
              <a:gd name="connsiteX5" fmla="*/ 2930519 w 5096554"/>
              <a:gd name="connsiteY5" fmla="*/ 0 h 4770537"/>
              <a:gd name="connsiteX6" fmla="*/ 3618553 w 5096554"/>
              <a:gd name="connsiteY6" fmla="*/ 0 h 4770537"/>
              <a:gd name="connsiteX7" fmla="*/ 4204657 w 5096554"/>
              <a:gd name="connsiteY7" fmla="*/ 0 h 4770537"/>
              <a:gd name="connsiteX8" fmla="*/ 5096554 w 5096554"/>
              <a:gd name="connsiteY8" fmla="*/ 0 h 4770537"/>
              <a:gd name="connsiteX9" fmla="*/ 5096554 w 5096554"/>
              <a:gd name="connsiteY9" fmla="*/ 681505 h 4770537"/>
              <a:gd name="connsiteX10" fmla="*/ 5096554 w 5096554"/>
              <a:gd name="connsiteY10" fmla="*/ 1267600 h 4770537"/>
              <a:gd name="connsiteX11" fmla="*/ 5096554 w 5096554"/>
              <a:gd name="connsiteY11" fmla="*/ 1805989 h 4770537"/>
              <a:gd name="connsiteX12" fmla="*/ 5096554 w 5096554"/>
              <a:gd name="connsiteY12" fmla="*/ 2344378 h 4770537"/>
              <a:gd name="connsiteX13" fmla="*/ 5096554 w 5096554"/>
              <a:gd name="connsiteY13" fmla="*/ 2882767 h 4770537"/>
              <a:gd name="connsiteX14" fmla="*/ 5096554 w 5096554"/>
              <a:gd name="connsiteY14" fmla="*/ 3516567 h 4770537"/>
              <a:gd name="connsiteX15" fmla="*/ 5096554 w 5096554"/>
              <a:gd name="connsiteY15" fmla="*/ 4770537 h 4770537"/>
              <a:gd name="connsiteX16" fmla="*/ 4459485 w 5096554"/>
              <a:gd name="connsiteY16" fmla="*/ 4770537 h 4770537"/>
              <a:gd name="connsiteX17" fmla="*/ 3975312 w 5096554"/>
              <a:gd name="connsiteY17" fmla="*/ 4770537 h 4770537"/>
              <a:gd name="connsiteX18" fmla="*/ 3338243 w 5096554"/>
              <a:gd name="connsiteY18" fmla="*/ 4770537 h 4770537"/>
              <a:gd name="connsiteX19" fmla="*/ 2701174 w 5096554"/>
              <a:gd name="connsiteY19" fmla="*/ 4770537 h 4770537"/>
              <a:gd name="connsiteX20" fmla="*/ 1962173 w 5096554"/>
              <a:gd name="connsiteY20" fmla="*/ 4770537 h 4770537"/>
              <a:gd name="connsiteX21" fmla="*/ 1427035 w 5096554"/>
              <a:gd name="connsiteY21" fmla="*/ 4770537 h 4770537"/>
              <a:gd name="connsiteX22" fmla="*/ 789966 w 5096554"/>
              <a:gd name="connsiteY22" fmla="*/ 4770537 h 4770537"/>
              <a:gd name="connsiteX23" fmla="*/ 0 w 5096554"/>
              <a:gd name="connsiteY23" fmla="*/ 4770537 h 4770537"/>
              <a:gd name="connsiteX24" fmla="*/ 0 w 5096554"/>
              <a:gd name="connsiteY24" fmla="*/ 4232148 h 4770537"/>
              <a:gd name="connsiteX25" fmla="*/ 0 w 5096554"/>
              <a:gd name="connsiteY25" fmla="*/ 3693759 h 4770537"/>
              <a:gd name="connsiteX26" fmla="*/ 0 w 5096554"/>
              <a:gd name="connsiteY26" fmla="*/ 2964548 h 4770537"/>
              <a:gd name="connsiteX27" fmla="*/ 0 w 5096554"/>
              <a:gd name="connsiteY27" fmla="*/ 2187632 h 4770537"/>
              <a:gd name="connsiteX28" fmla="*/ 0 w 5096554"/>
              <a:gd name="connsiteY28" fmla="*/ 1506127 h 4770537"/>
              <a:gd name="connsiteX29" fmla="*/ 0 w 5096554"/>
              <a:gd name="connsiteY29" fmla="*/ 824621 h 4770537"/>
              <a:gd name="connsiteX30" fmla="*/ 0 w 5096554"/>
              <a:gd name="connsiteY30" fmla="*/ 0 h 477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96554" h="4770537" extrusionOk="0">
                <a:moveTo>
                  <a:pt x="0" y="0"/>
                </a:moveTo>
                <a:cubicBezTo>
                  <a:pt x="135865" y="7655"/>
                  <a:pt x="354780" y="11513"/>
                  <a:pt x="484173" y="0"/>
                </a:cubicBezTo>
                <a:cubicBezTo>
                  <a:pt x="613566" y="-11513"/>
                  <a:pt x="972740" y="24468"/>
                  <a:pt x="1223173" y="0"/>
                </a:cubicBezTo>
                <a:cubicBezTo>
                  <a:pt x="1473606" y="-24468"/>
                  <a:pt x="1561626" y="21117"/>
                  <a:pt x="1758311" y="0"/>
                </a:cubicBezTo>
                <a:cubicBezTo>
                  <a:pt x="1954996" y="-21117"/>
                  <a:pt x="2147113" y="-23028"/>
                  <a:pt x="2293449" y="0"/>
                </a:cubicBezTo>
                <a:cubicBezTo>
                  <a:pt x="2439785" y="23028"/>
                  <a:pt x="2800672" y="-16469"/>
                  <a:pt x="2930519" y="0"/>
                </a:cubicBezTo>
                <a:cubicBezTo>
                  <a:pt x="3060366" y="16469"/>
                  <a:pt x="3310257" y="-10191"/>
                  <a:pt x="3618553" y="0"/>
                </a:cubicBezTo>
                <a:cubicBezTo>
                  <a:pt x="3926849" y="10191"/>
                  <a:pt x="3939089" y="13704"/>
                  <a:pt x="4204657" y="0"/>
                </a:cubicBezTo>
                <a:cubicBezTo>
                  <a:pt x="4470225" y="-13704"/>
                  <a:pt x="4658321" y="12714"/>
                  <a:pt x="5096554" y="0"/>
                </a:cubicBezTo>
                <a:cubicBezTo>
                  <a:pt x="5097934" y="233968"/>
                  <a:pt x="5085445" y="499435"/>
                  <a:pt x="5096554" y="681505"/>
                </a:cubicBezTo>
                <a:cubicBezTo>
                  <a:pt x="5107663" y="863576"/>
                  <a:pt x="5072798" y="1034254"/>
                  <a:pt x="5096554" y="1267600"/>
                </a:cubicBezTo>
                <a:cubicBezTo>
                  <a:pt x="5120310" y="1500946"/>
                  <a:pt x="5105936" y="1639922"/>
                  <a:pt x="5096554" y="1805989"/>
                </a:cubicBezTo>
                <a:cubicBezTo>
                  <a:pt x="5087172" y="1972056"/>
                  <a:pt x="5082494" y="2235194"/>
                  <a:pt x="5096554" y="2344378"/>
                </a:cubicBezTo>
                <a:cubicBezTo>
                  <a:pt x="5110614" y="2453562"/>
                  <a:pt x="5098248" y="2720146"/>
                  <a:pt x="5096554" y="2882767"/>
                </a:cubicBezTo>
                <a:cubicBezTo>
                  <a:pt x="5094860" y="3045388"/>
                  <a:pt x="5122501" y="3259865"/>
                  <a:pt x="5096554" y="3516567"/>
                </a:cubicBezTo>
                <a:cubicBezTo>
                  <a:pt x="5070607" y="3773269"/>
                  <a:pt x="5075677" y="4228704"/>
                  <a:pt x="5096554" y="4770537"/>
                </a:cubicBezTo>
                <a:cubicBezTo>
                  <a:pt x="4835762" y="4793255"/>
                  <a:pt x="4671068" y="4750329"/>
                  <a:pt x="4459485" y="4770537"/>
                </a:cubicBezTo>
                <a:cubicBezTo>
                  <a:pt x="4247902" y="4790745"/>
                  <a:pt x="4177487" y="4787557"/>
                  <a:pt x="3975312" y="4770537"/>
                </a:cubicBezTo>
                <a:cubicBezTo>
                  <a:pt x="3773137" y="4753517"/>
                  <a:pt x="3487076" y="4770160"/>
                  <a:pt x="3338243" y="4770537"/>
                </a:cubicBezTo>
                <a:cubicBezTo>
                  <a:pt x="3189410" y="4770914"/>
                  <a:pt x="2883525" y="4744210"/>
                  <a:pt x="2701174" y="4770537"/>
                </a:cubicBezTo>
                <a:cubicBezTo>
                  <a:pt x="2518823" y="4796864"/>
                  <a:pt x="2274910" y="4789832"/>
                  <a:pt x="1962173" y="4770537"/>
                </a:cubicBezTo>
                <a:cubicBezTo>
                  <a:pt x="1649436" y="4751242"/>
                  <a:pt x="1690742" y="4794397"/>
                  <a:pt x="1427035" y="4770537"/>
                </a:cubicBezTo>
                <a:cubicBezTo>
                  <a:pt x="1163328" y="4746677"/>
                  <a:pt x="1076788" y="4752693"/>
                  <a:pt x="789966" y="4770537"/>
                </a:cubicBezTo>
                <a:cubicBezTo>
                  <a:pt x="503144" y="4788381"/>
                  <a:pt x="216395" y="4735495"/>
                  <a:pt x="0" y="4770537"/>
                </a:cubicBezTo>
                <a:cubicBezTo>
                  <a:pt x="3661" y="4596141"/>
                  <a:pt x="26287" y="4467895"/>
                  <a:pt x="0" y="4232148"/>
                </a:cubicBezTo>
                <a:cubicBezTo>
                  <a:pt x="-26287" y="3996401"/>
                  <a:pt x="-16054" y="3809911"/>
                  <a:pt x="0" y="3693759"/>
                </a:cubicBezTo>
                <a:cubicBezTo>
                  <a:pt x="16054" y="3577607"/>
                  <a:pt x="8413" y="3283560"/>
                  <a:pt x="0" y="2964548"/>
                </a:cubicBezTo>
                <a:cubicBezTo>
                  <a:pt x="-8413" y="2645536"/>
                  <a:pt x="-13431" y="2380955"/>
                  <a:pt x="0" y="2187632"/>
                </a:cubicBezTo>
                <a:cubicBezTo>
                  <a:pt x="13431" y="1994309"/>
                  <a:pt x="-16927" y="1733572"/>
                  <a:pt x="0" y="1506127"/>
                </a:cubicBezTo>
                <a:cubicBezTo>
                  <a:pt x="16927" y="1278683"/>
                  <a:pt x="13122" y="1014406"/>
                  <a:pt x="0" y="824621"/>
                </a:cubicBezTo>
                <a:cubicBezTo>
                  <a:pt x="-13122" y="634836"/>
                  <a:pt x="26095" y="188749"/>
                  <a:pt x="0" y="0"/>
                </a:cubicBezTo>
                <a:close/>
              </a:path>
            </a:pathLst>
          </a:custGeom>
          <a:noFill/>
          <a:ln>
            <a:solidFill>
              <a:schemeClr val="tx1"/>
            </a:solidFill>
            <a:extLst>
              <a:ext uri="{C807C97D-BFC1-408E-A445-0C87EB9F89A2}">
                <ask:lineSketchStyleProps xmlns:ask="http://schemas.microsoft.com/office/drawing/2018/sketchyshapes" sd="3828347324">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Lost Update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DECLARE</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int</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 </a:t>
            </a:r>
            <a:r>
              <a:rPr lang="en-US" sz="1600" dirty="0">
                <a:solidFill>
                  <a:srgbClr val="0000FF"/>
                </a:solidFill>
                <a:latin typeface="Consolas" panose="020B0609020204030204" pitchFamily="49" charset="0"/>
              </a:rPr>
              <a:t>in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 </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New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Old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400</a:t>
            </a:r>
          </a:p>
          <a:p>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NewBalance</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OldBalance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OldBalance</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pPr lvl="1"/>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Tree>
    <p:extLst>
      <p:ext uri="{BB962C8B-B14F-4D97-AF65-F5344CB8AC3E}">
        <p14:creationId xmlns:p14="http://schemas.microsoft.com/office/powerpoint/2010/main" val="179277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ight Arrow 12"/>
          <p:cNvSpPr/>
          <p:nvPr/>
        </p:nvSpPr>
        <p:spPr bwMode="auto">
          <a:xfrm>
            <a:off x="5105689" y="5397441"/>
            <a:ext cx="1455028" cy="551907"/>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cxnSp>
        <p:nvCxnSpPr>
          <p:cNvPr id="9" name="Straight Arrow Connector 8"/>
          <p:cNvCxnSpPr/>
          <p:nvPr/>
        </p:nvCxnSpPr>
        <p:spPr bwMode="auto">
          <a:xfrm flipV="1">
            <a:off x="5841065" y="3066417"/>
            <a:ext cx="1229248" cy="133796"/>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cxnSp>
        <p:nvCxnSpPr>
          <p:cNvPr id="11" name="Straight Arrow Connector 10"/>
          <p:cNvCxnSpPr/>
          <p:nvPr/>
        </p:nvCxnSpPr>
        <p:spPr bwMode="auto">
          <a:xfrm flipV="1">
            <a:off x="5556751" y="2435862"/>
            <a:ext cx="1513563" cy="259229"/>
          </a:xfrm>
          <a:prstGeom prst="straightConnector1">
            <a:avLst/>
          </a:prstGeom>
          <a:gradFill rotWithShape="1">
            <a:gsLst>
              <a:gs pos="0">
                <a:srgbClr val="E4CD9A"/>
              </a:gs>
              <a:gs pos="100000">
                <a:srgbClr val="EEEFD7"/>
              </a:gs>
            </a:gsLst>
            <a:lin ang="2700000" scaled="1"/>
          </a:gradFill>
          <a:ln w="9525" cap="flat" cmpd="sng" algn="ctr">
            <a:noFill/>
            <a:prstDash val="solid"/>
            <a:round/>
            <a:headEnd type="none" w="med" len="med"/>
            <a:tailEnd type="triangle"/>
          </a:ln>
          <a:effectLst>
            <a:outerShdw dist="35921" dir="2700000" algn="ctr" rotWithShape="0">
              <a:srgbClr val="AFAFAF"/>
            </a:outerShdw>
          </a:effectLst>
        </p:spPr>
      </p:cxnSp>
      <p:sp>
        <p:nvSpPr>
          <p:cNvPr id="12" name="Right Arrow 11"/>
          <p:cNvSpPr/>
          <p:nvPr/>
        </p:nvSpPr>
        <p:spPr bwMode="auto">
          <a:xfrm>
            <a:off x="5105689" y="2677873"/>
            <a:ext cx="1455028" cy="551907"/>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sp>
        <p:nvSpPr>
          <p:cNvPr id="8" name="TextBox 7"/>
          <p:cNvSpPr txBox="1"/>
          <p:nvPr/>
        </p:nvSpPr>
        <p:spPr>
          <a:xfrm>
            <a:off x="5247556" y="2806010"/>
            <a:ext cx="1581513" cy="304207"/>
          </a:xfrm>
          <a:prstGeom prst="rect">
            <a:avLst/>
          </a:prstGeom>
          <a:noFill/>
        </p:spPr>
        <p:txBody>
          <a:bodyPr wrap="square" rtlCol="0">
            <a:spAutoFit/>
          </a:bodyPr>
          <a:lstStyle/>
          <a:p>
            <a:pPr defTabSz="914225"/>
            <a:r>
              <a:rPr lang="en-US" sz="1350" dirty="0">
                <a:solidFill>
                  <a:prstClr val="white"/>
                </a:solidFill>
                <a:latin typeface="Segoe UI"/>
              </a:rPr>
              <a:t>Clean Read</a:t>
            </a:r>
          </a:p>
        </p:txBody>
      </p:sp>
      <p:sp>
        <p:nvSpPr>
          <p:cNvPr id="15" name="TextBox 14"/>
          <p:cNvSpPr txBox="1"/>
          <p:nvPr/>
        </p:nvSpPr>
        <p:spPr>
          <a:xfrm>
            <a:off x="5282758" y="5507942"/>
            <a:ext cx="1581513" cy="304207"/>
          </a:xfrm>
          <a:prstGeom prst="rect">
            <a:avLst/>
          </a:prstGeom>
          <a:noFill/>
        </p:spPr>
        <p:txBody>
          <a:bodyPr wrap="square" rtlCol="0">
            <a:spAutoFit/>
          </a:bodyPr>
          <a:lstStyle/>
          <a:p>
            <a:pPr defTabSz="914225"/>
            <a:r>
              <a:rPr lang="en-US" sz="1350" dirty="0">
                <a:solidFill>
                  <a:prstClr val="white"/>
                </a:solidFill>
                <a:latin typeface="Segoe UI"/>
              </a:rPr>
              <a:t>Dirty Read</a:t>
            </a:r>
          </a:p>
        </p:txBody>
      </p:sp>
      <p:pic>
        <p:nvPicPr>
          <p:cNvPr id="7" name="Picture 6"/>
          <p:cNvPicPr>
            <a:picLocks noChangeAspect="1"/>
          </p:cNvPicPr>
          <p:nvPr/>
        </p:nvPicPr>
        <p:blipFill>
          <a:blip r:embed="rId2"/>
          <a:stretch>
            <a:fillRect/>
          </a:stretch>
        </p:blipFill>
        <p:spPr>
          <a:xfrm>
            <a:off x="6688041" y="2508200"/>
            <a:ext cx="4939082" cy="721580"/>
          </a:xfrm>
          <a:prstGeom prst="rect">
            <a:avLst/>
          </a:prstGeom>
        </p:spPr>
      </p:pic>
      <p:pic>
        <p:nvPicPr>
          <p:cNvPr id="16" name="Picture 15"/>
          <p:cNvPicPr>
            <a:picLocks noChangeAspect="1"/>
          </p:cNvPicPr>
          <p:nvPr/>
        </p:nvPicPr>
        <p:blipFill>
          <a:blip r:embed="rId3"/>
          <a:stretch>
            <a:fillRect/>
          </a:stretch>
        </p:blipFill>
        <p:spPr>
          <a:xfrm>
            <a:off x="6931851" y="5247170"/>
            <a:ext cx="4489330" cy="702178"/>
          </a:xfrm>
          <a:prstGeom prst="rect">
            <a:avLst/>
          </a:prstGeom>
        </p:spPr>
      </p:pic>
      <p:sp>
        <p:nvSpPr>
          <p:cNvPr id="14" name="Title 1">
            <a:extLst>
              <a:ext uri="{FF2B5EF4-FFF2-40B4-BE49-F238E27FC236}">
                <a16:creationId xmlns:a16="http://schemas.microsoft.com/office/drawing/2014/main" id="{A346EA36-FE07-4A60-8531-2396ECF8F32D}"/>
              </a:ext>
            </a:extLst>
          </p:cNvPr>
          <p:cNvSpPr txBox="1">
            <a:spLocks/>
          </p:cNvSpPr>
          <p:nvPr/>
        </p:nvSpPr>
        <p:spPr>
          <a:xfrm>
            <a:off x="204462" y="243391"/>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Uncommitted dependency (dirty read)</a:t>
            </a:r>
          </a:p>
        </p:txBody>
      </p:sp>
      <p:sp>
        <p:nvSpPr>
          <p:cNvPr id="3" name="TextBox 2">
            <a:extLst>
              <a:ext uri="{FF2B5EF4-FFF2-40B4-BE49-F238E27FC236}">
                <a16:creationId xmlns:a16="http://schemas.microsoft.com/office/drawing/2014/main" id="{022C03F0-DC31-1460-A329-53272CE0B520}"/>
              </a:ext>
            </a:extLst>
          </p:cNvPr>
          <p:cNvSpPr txBox="1"/>
          <p:nvPr/>
        </p:nvSpPr>
        <p:spPr>
          <a:xfrm>
            <a:off x="524362" y="921154"/>
            <a:ext cx="4355506" cy="3539430"/>
          </a:xfrm>
          <a:custGeom>
            <a:avLst/>
            <a:gdLst>
              <a:gd name="connsiteX0" fmla="*/ 0 w 4355506"/>
              <a:gd name="connsiteY0" fmla="*/ 0 h 3539430"/>
              <a:gd name="connsiteX1" fmla="*/ 665770 w 4355506"/>
              <a:gd name="connsiteY1" fmla="*/ 0 h 3539430"/>
              <a:gd name="connsiteX2" fmla="*/ 1375095 w 4355506"/>
              <a:gd name="connsiteY2" fmla="*/ 0 h 3539430"/>
              <a:gd name="connsiteX3" fmla="*/ 2084421 w 4355506"/>
              <a:gd name="connsiteY3" fmla="*/ 0 h 3539430"/>
              <a:gd name="connsiteX4" fmla="*/ 2575971 w 4355506"/>
              <a:gd name="connsiteY4" fmla="*/ 0 h 3539430"/>
              <a:gd name="connsiteX5" fmla="*/ 3154631 w 4355506"/>
              <a:gd name="connsiteY5" fmla="*/ 0 h 3539430"/>
              <a:gd name="connsiteX6" fmla="*/ 4355506 w 4355506"/>
              <a:gd name="connsiteY6" fmla="*/ 0 h 3539430"/>
              <a:gd name="connsiteX7" fmla="*/ 4355506 w 4355506"/>
              <a:gd name="connsiteY7" fmla="*/ 660694 h 3539430"/>
              <a:gd name="connsiteX8" fmla="*/ 4355506 w 4355506"/>
              <a:gd name="connsiteY8" fmla="*/ 1215204 h 3539430"/>
              <a:gd name="connsiteX9" fmla="*/ 4355506 w 4355506"/>
              <a:gd name="connsiteY9" fmla="*/ 1875898 h 3539430"/>
              <a:gd name="connsiteX10" fmla="*/ 4355506 w 4355506"/>
              <a:gd name="connsiteY10" fmla="*/ 2536591 h 3539430"/>
              <a:gd name="connsiteX11" fmla="*/ 4355506 w 4355506"/>
              <a:gd name="connsiteY11" fmla="*/ 3539430 h 3539430"/>
              <a:gd name="connsiteX12" fmla="*/ 3820401 w 4355506"/>
              <a:gd name="connsiteY12" fmla="*/ 3539430 h 3539430"/>
              <a:gd name="connsiteX13" fmla="*/ 3154631 w 4355506"/>
              <a:gd name="connsiteY13" fmla="*/ 3539430 h 3539430"/>
              <a:gd name="connsiteX14" fmla="*/ 2575971 w 4355506"/>
              <a:gd name="connsiteY14" fmla="*/ 3539430 h 3539430"/>
              <a:gd name="connsiteX15" fmla="*/ 1953756 w 4355506"/>
              <a:gd name="connsiteY15" fmla="*/ 3539430 h 3539430"/>
              <a:gd name="connsiteX16" fmla="*/ 1375095 w 4355506"/>
              <a:gd name="connsiteY16" fmla="*/ 3539430 h 3539430"/>
              <a:gd name="connsiteX17" fmla="*/ 665770 w 4355506"/>
              <a:gd name="connsiteY17" fmla="*/ 3539430 h 3539430"/>
              <a:gd name="connsiteX18" fmla="*/ 0 w 4355506"/>
              <a:gd name="connsiteY18" fmla="*/ 3539430 h 3539430"/>
              <a:gd name="connsiteX19" fmla="*/ 0 w 4355506"/>
              <a:gd name="connsiteY19" fmla="*/ 2914131 h 3539430"/>
              <a:gd name="connsiteX20" fmla="*/ 0 w 4355506"/>
              <a:gd name="connsiteY20" fmla="*/ 2288831 h 3539430"/>
              <a:gd name="connsiteX21" fmla="*/ 0 w 4355506"/>
              <a:gd name="connsiteY21" fmla="*/ 1628138 h 3539430"/>
              <a:gd name="connsiteX22" fmla="*/ 0 w 4355506"/>
              <a:gd name="connsiteY22" fmla="*/ 967444 h 3539430"/>
              <a:gd name="connsiteX23" fmla="*/ 0 w 4355506"/>
              <a:gd name="connsiteY23" fmla="*/ 0 h 3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55506" h="3539430" extrusionOk="0">
                <a:moveTo>
                  <a:pt x="0" y="0"/>
                </a:moveTo>
                <a:cubicBezTo>
                  <a:pt x="265738" y="-19263"/>
                  <a:pt x="441835" y="-2520"/>
                  <a:pt x="665770" y="0"/>
                </a:cubicBezTo>
                <a:cubicBezTo>
                  <a:pt x="889705" y="2520"/>
                  <a:pt x="1081595" y="8748"/>
                  <a:pt x="1375095" y="0"/>
                </a:cubicBezTo>
                <a:cubicBezTo>
                  <a:pt x="1668596" y="-8748"/>
                  <a:pt x="1740985" y="26346"/>
                  <a:pt x="2084421" y="0"/>
                </a:cubicBezTo>
                <a:cubicBezTo>
                  <a:pt x="2427857" y="-26346"/>
                  <a:pt x="2442537" y="4383"/>
                  <a:pt x="2575971" y="0"/>
                </a:cubicBezTo>
                <a:cubicBezTo>
                  <a:pt x="2709405" y="-4383"/>
                  <a:pt x="3029085" y="-114"/>
                  <a:pt x="3154631" y="0"/>
                </a:cubicBezTo>
                <a:cubicBezTo>
                  <a:pt x="3280177" y="114"/>
                  <a:pt x="3926009" y="37744"/>
                  <a:pt x="4355506" y="0"/>
                </a:cubicBezTo>
                <a:cubicBezTo>
                  <a:pt x="4343771" y="165533"/>
                  <a:pt x="4375458" y="450396"/>
                  <a:pt x="4355506" y="660694"/>
                </a:cubicBezTo>
                <a:cubicBezTo>
                  <a:pt x="4335554" y="870992"/>
                  <a:pt x="4375589" y="943607"/>
                  <a:pt x="4355506" y="1215204"/>
                </a:cubicBezTo>
                <a:cubicBezTo>
                  <a:pt x="4335424" y="1486801"/>
                  <a:pt x="4347911" y="1706855"/>
                  <a:pt x="4355506" y="1875898"/>
                </a:cubicBezTo>
                <a:cubicBezTo>
                  <a:pt x="4363101" y="2044941"/>
                  <a:pt x="4357009" y="2397718"/>
                  <a:pt x="4355506" y="2536591"/>
                </a:cubicBezTo>
                <a:cubicBezTo>
                  <a:pt x="4354003" y="2675464"/>
                  <a:pt x="4396720" y="3086594"/>
                  <a:pt x="4355506" y="3539430"/>
                </a:cubicBezTo>
                <a:cubicBezTo>
                  <a:pt x="4097707" y="3518651"/>
                  <a:pt x="4063029" y="3523088"/>
                  <a:pt x="3820401" y="3539430"/>
                </a:cubicBezTo>
                <a:cubicBezTo>
                  <a:pt x="3577773" y="3555772"/>
                  <a:pt x="3332012" y="3529193"/>
                  <a:pt x="3154631" y="3539430"/>
                </a:cubicBezTo>
                <a:cubicBezTo>
                  <a:pt x="2977250" y="3549668"/>
                  <a:pt x="2736129" y="3514310"/>
                  <a:pt x="2575971" y="3539430"/>
                </a:cubicBezTo>
                <a:cubicBezTo>
                  <a:pt x="2415813" y="3564550"/>
                  <a:pt x="2236778" y="3543932"/>
                  <a:pt x="1953756" y="3539430"/>
                </a:cubicBezTo>
                <a:cubicBezTo>
                  <a:pt x="1670735" y="3534928"/>
                  <a:pt x="1498446" y="3562626"/>
                  <a:pt x="1375095" y="3539430"/>
                </a:cubicBezTo>
                <a:cubicBezTo>
                  <a:pt x="1251744" y="3516234"/>
                  <a:pt x="1018142" y="3549173"/>
                  <a:pt x="665770" y="3539430"/>
                </a:cubicBezTo>
                <a:cubicBezTo>
                  <a:pt x="313398" y="3529687"/>
                  <a:pt x="158242" y="3562517"/>
                  <a:pt x="0" y="3539430"/>
                </a:cubicBezTo>
                <a:cubicBezTo>
                  <a:pt x="23247" y="3396221"/>
                  <a:pt x="-21281" y="3155065"/>
                  <a:pt x="0" y="2914131"/>
                </a:cubicBezTo>
                <a:cubicBezTo>
                  <a:pt x="21281" y="2673197"/>
                  <a:pt x="-14801" y="2598942"/>
                  <a:pt x="0" y="2288831"/>
                </a:cubicBezTo>
                <a:cubicBezTo>
                  <a:pt x="14801" y="1978720"/>
                  <a:pt x="24326" y="1776968"/>
                  <a:pt x="0" y="1628138"/>
                </a:cubicBezTo>
                <a:cubicBezTo>
                  <a:pt x="-24326" y="1479308"/>
                  <a:pt x="-22397" y="1199214"/>
                  <a:pt x="0" y="967444"/>
                </a:cubicBezTo>
                <a:cubicBezTo>
                  <a:pt x="22397" y="735674"/>
                  <a:pt x="36506" y="204253"/>
                  <a:pt x="0" y="0"/>
                </a:cubicBezTo>
                <a:close/>
              </a:path>
            </a:pathLst>
          </a:custGeom>
          <a:noFill/>
          <a:ln>
            <a:solidFill>
              <a:schemeClr val="tx1"/>
            </a:solidFill>
            <a:extLst>
              <a:ext uri="{C807C97D-BFC1-408E-A445-0C87EB9F89A2}">
                <ask:lineSketchStyleProps xmlns:ask="http://schemas.microsoft.com/office/drawing/2018/sketchyshapes" sd="1269249818">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 </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 Dirty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NCOMMITTE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Balanc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300</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p>
          <a:p>
            <a:pPr lvl="1"/>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OLLBACK</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Balanc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endParaRPr lang="en-US" sz="1600" dirty="0"/>
          </a:p>
        </p:txBody>
      </p:sp>
      <p:sp>
        <p:nvSpPr>
          <p:cNvPr id="6" name="TextBox 5">
            <a:extLst>
              <a:ext uri="{FF2B5EF4-FFF2-40B4-BE49-F238E27FC236}">
                <a16:creationId xmlns:a16="http://schemas.microsoft.com/office/drawing/2014/main" id="{D49D7525-B810-07E7-A9D1-7A7BE9CB91F0}"/>
              </a:ext>
            </a:extLst>
          </p:cNvPr>
          <p:cNvSpPr txBox="1"/>
          <p:nvPr/>
        </p:nvSpPr>
        <p:spPr>
          <a:xfrm>
            <a:off x="524362" y="4637278"/>
            <a:ext cx="4355506" cy="2062103"/>
          </a:xfrm>
          <a:custGeom>
            <a:avLst/>
            <a:gdLst>
              <a:gd name="connsiteX0" fmla="*/ 0 w 4355506"/>
              <a:gd name="connsiteY0" fmla="*/ 0 h 2062103"/>
              <a:gd name="connsiteX1" fmla="*/ 665770 w 4355506"/>
              <a:gd name="connsiteY1" fmla="*/ 0 h 2062103"/>
              <a:gd name="connsiteX2" fmla="*/ 1200875 w 4355506"/>
              <a:gd name="connsiteY2" fmla="*/ 0 h 2062103"/>
              <a:gd name="connsiteX3" fmla="*/ 1823090 w 4355506"/>
              <a:gd name="connsiteY3" fmla="*/ 0 h 2062103"/>
              <a:gd name="connsiteX4" fmla="*/ 2488861 w 4355506"/>
              <a:gd name="connsiteY4" fmla="*/ 0 h 2062103"/>
              <a:gd name="connsiteX5" fmla="*/ 2980411 w 4355506"/>
              <a:gd name="connsiteY5" fmla="*/ 0 h 2062103"/>
              <a:gd name="connsiteX6" fmla="*/ 3602626 w 4355506"/>
              <a:gd name="connsiteY6" fmla="*/ 0 h 2062103"/>
              <a:gd name="connsiteX7" fmla="*/ 4355506 w 4355506"/>
              <a:gd name="connsiteY7" fmla="*/ 0 h 2062103"/>
              <a:gd name="connsiteX8" fmla="*/ 4355506 w 4355506"/>
              <a:gd name="connsiteY8" fmla="*/ 625505 h 2062103"/>
              <a:gd name="connsiteX9" fmla="*/ 4355506 w 4355506"/>
              <a:gd name="connsiteY9" fmla="*/ 1312872 h 2062103"/>
              <a:gd name="connsiteX10" fmla="*/ 4355506 w 4355506"/>
              <a:gd name="connsiteY10" fmla="*/ 2062103 h 2062103"/>
              <a:gd name="connsiteX11" fmla="*/ 3689736 w 4355506"/>
              <a:gd name="connsiteY11" fmla="*/ 2062103 h 2062103"/>
              <a:gd name="connsiteX12" fmla="*/ 3023966 w 4355506"/>
              <a:gd name="connsiteY12" fmla="*/ 2062103 h 2062103"/>
              <a:gd name="connsiteX13" fmla="*/ 2445306 w 4355506"/>
              <a:gd name="connsiteY13" fmla="*/ 2062103 h 2062103"/>
              <a:gd name="connsiteX14" fmla="*/ 1953756 w 4355506"/>
              <a:gd name="connsiteY14" fmla="*/ 2062103 h 2062103"/>
              <a:gd name="connsiteX15" fmla="*/ 1244430 w 4355506"/>
              <a:gd name="connsiteY15" fmla="*/ 2062103 h 2062103"/>
              <a:gd name="connsiteX16" fmla="*/ 709325 w 4355506"/>
              <a:gd name="connsiteY16" fmla="*/ 2062103 h 2062103"/>
              <a:gd name="connsiteX17" fmla="*/ 0 w 4355506"/>
              <a:gd name="connsiteY17" fmla="*/ 2062103 h 2062103"/>
              <a:gd name="connsiteX18" fmla="*/ 0 w 4355506"/>
              <a:gd name="connsiteY18" fmla="*/ 1333493 h 2062103"/>
              <a:gd name="connsiteX19" fmla="*/ 0 w 4355506"/>
              <a:gd name="connsiteY19" fmla="*/ 687368 h 2062103"/>
              <a:gd name="connsiteX20" fmla="*/ 0 w 4355506"/>
              <a:gd name="connsiteY20" fmla="*/ 0 h 206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55506" h="2062103" extrusionOk="0">
                <a:moveTo>
                  <a:pt x="0" y="0"/>
                </a:moveTo>
                <a:cubicBezTo>
                  <a:pt x="208602" y="-18823"/>
                  <a:pt x="413167" y="4025"/>
                  <a:pt x="665770" y="0"/>
                </a:cubicBezTo>
                <a:cubicBezTo>
                  <a:pt x="918373" y="-4025"/>
                  <a:pt x="952455" y="14462"/>
                  <a:pt x="1200875" y="0"/>
                </a:cubicBezTo>
                <a:cubicBezTo>
                  <a:pt x="1449296" y="-14462"/>
                  <a:pt x="1565184" y="-24677"/>
                  <a:pt x="1823090" y="0"/>
                </a:cubicBezTo>
                <a:cubicBezTo>
                  <a:pt x="2080997" y="24677"/>
                  <a:pt x="2331145" y="21900"/>
                  <a:pt x="2488861" y="0"/>
                </a:cubicBezTo>
                <a:cubicBezTo>
                  <a:pt x="2646577" y="-21900"/>
                  <a:pt x="2803070" y="10603"/>
                  <a:pt x="2980411" y="0"/>
                </a:cubicBezTo>
                <a:cubicBezTo>
                  <a:pt x="3157752" y="-10603"/>
                  <a:pt x="3419439" y="17493"/>
                  <a:pt x="3602626" y="0"/>
                </a:cubicBezTo>
                <a:cubicBezTo>
                  <a:pt x="3785813" y="-17493"/>
                  <a:pt x="3995736" y="21141"/>
                  <a:pt x="4355506" y="0"/>
                </a:cubicBezTo>
                <a:cubicBezTo>
                  <a:pt x="4373904" y="134185"/>
                  <a:pt x="4352371" y="403510"/>
                  <a:pt x="4355506" y="625505"/>
                </a:cubicBezTo>
                <a:cubicBezTo>
                  <a:pt x="4358641" y="847501"/>
                  <a:pt x="4364129" y="1059413"/>
                  <a:pt x="4355506" y="1312872"/>
                </a:cubicBezTo>
                <a:cubicBezTo>
                  <a:pt x="4346883" y="1566331"/>
                  <a:pt x="4348080" y="1813019"/>
                  <a:pt x="4355506" y="2062103"/>
                </a:cubicBezTo>
                <a:cubicBezTo>
                  <a:pt x="4168768" y="2055462"/>
                  <a:pt x="3971262" y="2088864"/>
                  <a:pt x="3689736" y="2062103"/>
                </a:cubicBezTo>
                <a:cubicBezTo>
                  <a:pt x="3408210" y="2035343"/>
                  <a:pt x="3233250" y="2055008"/>
                  <a:pt x="3023966" y="2062103"/>
                </a:cubicBezTo>
                <a:cubicBezTo>
                  <a:pt x="2814682" y="2069199"/>
                  <a:pt x="2631579" y="2063609"/>
                  <a:pt x="2445306" y="2062103"/>
                </a:cubicBezTo>
                <a:cubicBezTo>
                  <a:pt x="2259033" y="2060597"/>
                  <a:pt x="2088169" y="2058609"/>
                  <a:pt x="1953756" y="2062103"/>
                </a:cubicBezTo>
                <a:cubicBezTo>
                  <a:pt x="1819343" y="2065598"/>
                  <a:pt x="1476993" y="2050636"/>
                  <a:pt x="1244430" y="2062103"/>
                </a:cubicBezTo>
                <a:cubicBezTo>
                  <a:pt x="1011867" y="2073570"/>
                  <a:pt x="887495" y="2075272"/>
                  <a:pt x="709325" y="2062103"/>
                </a:cubicBezTo>
                <a:cubicBezTo>
                  <a:pt x="531156" y="2048934"/>
                  <a:pt x="154390" y="2030577"/>
                  <a:pt x="0" y="2062103"/>
                </a:cubicBezTo>
                <a:cubicBezTo>
                  <a:pt x="18142" y="1700493"/>
                  <a:pt x="-30675" y="1574468"/>
                  <a:pt x="0" y="1333493"/>
                </a:cubicBezTo>
                <a:cubicBezTo>
                  <a:pt x="30675" y="1092518"/>
                  <a:pt x="-18285" y="906007"/>
                  <a:pt x="0" y="687368"/>
                </a:cubicBezTo>
                <a:cubicBezTo>
                  <a:pt x="18285" y="468730"/>
                  <a:pt x="-31286" y="285938"/>
                  <a:pt x="0" y="0"/>
                </a:cubicBezTo>
                <a:close/>
              </a:path>
            </a:pathLst>
          </a:custGeom>
          <a:noFill/>
          <a:ln>
            <a:solidFill>
              <a:schemeClr val="tx1"/>
            </a:solidFill>
            <a:extLst>
              <a:ext uri="{C807C97D-BFC1-408E-A445-0C87EB9F89A2}">
                <ask:lineSketchStyleProps xmlns:ask="http://schemas.microsoft.com/office/drawing/2018/sketchyshapes" sd="2976774899">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Dirty Read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UNCOMMITTED</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 </a:t>
            </a:r>
          </a:p>
          <a:p>
            <a:pPr lvl="1"/>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a:t>
            </a:r>
            <a:endParaRPr lang="en-US" sz="1600" dirty="0"/>
          </a:p>
        </p:txBody>
      </p:sp>
    </p:spTree>
    <p:extLst>
      <p:ext uri="{BB962C8B-B14F-4D97-AF65-F5344CB8AC3E}">
        <p14:creationId xmlns:p14="http://schemas.microsoft.com/office/powerpoint/2010/main" val="46318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BC934BC-59D4-8610-FC35-1173668EE462}"/>
              </a:ext>
            </a:extLst>
          </p:cNvPr>
          <p:cNvGrpSpPr/>
          <p:nvPr/>
        </p:nvGrpSpPr>
        <p:grpSpPr>
          <a:xfrm>
            <a:off x="6047196" y="2153340"/>
            <a:ext cx="2672129" cy="2974603"/>
            <a:chOff x="5926003" y="2110962"/>
            <a:chExt cx="2672129" cy="2974603"/>
          </a:xfrm>
        </p:grpSpPr>
        <p:pic>
          <p:nvPicPr>
            <p:cNvPr id="5" name="Picture 4"/>
            <p:cNvPicPr>
              <a:picLocks noChangeAspect="1"/>
            </p:cNvPicPr>
            <p:nvPr/>
          </p:nvPicPr>
          <p:blipFill>
            <a:blip r:embed="rId2"/>
            <a:stretch>
              <a:fillRect/>
            </a:stretch>
          </p:blipFill>
          <p:spPr>
            <a:xfrm>
              <a:off x="5926003" y="2536576"/>
              <a:ext cx="2672129" cy="2548989"/>
            </a:xfrm>
            <a:prstGeom prst="rect">
              <a:avLst/>
            </a:prstGeom>
          </p:spPr>
        </p:pic>
        <p:sp>
          <p:nvSpPr>
            <p:cNvPr id="12" name="TextBox 11"/>
            <p:cNvSpPr txBox="1"/>
            <p:nvPr/>
          </p:nvSpPr>
          <p:spPr>
            <a:xfrm>
              <a:off x="5937075" y="2110962"/>
              <a:ext cx="2661057" cy="374793"/>
            </a:xfrm>
            <a:prstGeom prst="rect">
              <a:avLst/>
            </a:prstGeom>
            <a:noFill/>
          </p:spPr>
          <p:txBody>
            <a:bodyPr wrap="square" rtlCol="0">
              <a:spAutoFit/>
            </a:bodyPr>
            <a:lstStyle/>
            <a:p>
              <a:pPr algn="ctr" defTabSz="914225"/>
              <a:r>
                <a:rPr lang="en-US" b="1" dirty="0">
                  <a:solidFill>
                    <a:prstClr val="black"/>
                  </a:solidFill>
                  <a:latin typeface="Segoe UI"/>
                </a:rPr>
                <a:t>READ COMMITTED</a:t>
              </a:r>
            </a:p>
          </p:txBody>
        </p:sp>
      </p:grpSp>
      <p:grpSp>
        <p:nvGrpSpPr>
          <p:cNvPr id="15" name="Group 14">
            <a:extLst>
              <a:ext uri="{FF2B5EF4-FFF2-40B4-BE49-F238E27FC236}">
                <a16:creationId xmlns:a16="http://schemas.microsoft.com/office/drawing/2014/main" id="{E54D7485-A1BE-5910-83A1-FD6662440D76}"/>
              </a:ext>
            </a:extLst>
          </p:cNvPr>
          <p:cNvGrpSpPr/>
          <p:nvPr/>
        </p:nvGrpSpPr>
        <p:grpSpPr>
          <a:xfrm>
            <a:off x="8974182" y="2131029"/>
            <a:ext cx="2892376" cy="2945205"/>
            <a:chOff x="8819419" y="2140360"/>
            <a:chExt cx="2892376" cy="2945205"/>
          </a:xfrm>
        </p:grpSpPr>
        <p:sp>
          <p:nvSpPr>
            <p:cNvPr id="13" name="TextBox 12"/>
            <p:cNvSpPr txBox="1"/>
            <p:nvPr/>
          </p:nvSpPr>
          <p:spPr>
            <a:xfrm>
              <a:off x="8963110" y="2140360"/>
              <a:ext cx="2604993" cy="374793"/>
            </a:xfrm>
            <a:prstGeom prst="rect">
              <a:avLst/>
            </a:prstGeom>
            <a:noFill/>
          </p:spPr>
          <p:txBody>
            <a:bodyPr wrap="square" rtlCol="0">
              <a:spAutoFit/>
            </a:bodyPr>
            <a:lstStyle/>
            <a:p>
              <a:pPr algn="ctr" defTabSz="914225"/>
              <a:r>
                <a:rPr lang="en-US" b="1" dirty="0">
                  <a:solidFill>
                    <a:prstClr val="black"/>
                  </a:solidFill>
                  <a:latin typeface="Segoe UI"/>
                </a:rPr>
                <a:t>REPEATABLE READ</a:t>
              </a:r>
            </a:p>
          </p:txBody>
        </p:sp>
        <p:pic>
          <p:nvPicPr>
            <p:cNvPr id="14" name="Picture 13"/>
            <p:cNvPicPr>
              <a:picLocks noChangeAspect="1"/>
            </p:cNvPicPr>
            <p:nvPr/>
          </p:nvPicPr>
          <p:blipFill>
            <a:blip r:embed="rId3"/>
            <a:stretch>
              <a:fillRect/>
            </a:stretch>
          </p:blipFill>
          <p:spPr>
            <a:xfrm>
              <a:off x="8819419" y="2536576"/>
              <a:ext cx="2892376" cy="2548989"/>
            </a:xfrm>
            <a:prstGeom prst="rect">
              <a:avLst/>
            </a:prstGeom>
          </p:spPr>
        </p:pic>
      </p:grpSp>
      <p:sp>
        <p:nvSpPr>
          <p:cNvPr id="10" name="Title 1">
            <a:extLst>
              <a:ext uri="{FF2B5EF4-FFF2-40B4-BE49-F238E27FC236}">
                <a16:creationId xmlns:a16="http://schemas.microsoft.com/office/drawing/2014/main" id="{BDE51B6E-4BD8-4507-9B39-06E5593973D1}"/>
              </a:ext>
            </a:extLst>
          </p:cNvPr>
          <p:cNvSpPr txBox="1">
            <a:spLocks/>
          </p:cNvSpPr>
          <p:nvPr/>
        </p:nvSpPr>
        <p:spPr>
          <a:xfrm>
            <a:off x="224938" y="17977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Inconsistent analysis (non-repeatable read)</a:t>
            </a:r>
          </a:p>
        </p:txBody>
      </p:sp>
      <p:sp>
        <p:nvSpPr>
          <p:cNvPr id="6" name="TextBox 5">
            <a:extLst>
              <a:ext uri="{FF2B5EF4-FFF2-40B4-BE49-F238E27FC236}">
                <a16:creationId xmlns:a16="http://schemas.microsoft.com/office/drawing/2014/main" id="{6EC4E8BE-832B-0778-FFDE-5BABC92808F7}"/>
              </a:ext>
            </a:extLst>
          </p:cNvPr>
          <p:cNvSpPr txBox="1"/>
          <p:nvPr/>
        </p:nvSpPr>
        <p:spPr>
          <a:xfrm>
            <a:off x="395270" y="868549"/>
            <a:ext cx="5253379" cy="3293209"/>
          </a:xfrm>
          <a:custGeom>
            <a:avLst/>
            <a:gdLst>
              <a:gd name="connsiteX0" fmla="*/ 0 w 5253379"/>
              <a:gd name="connsiteY0" fmla="*/ 0 h 3293209"/>
              <a:gd name="connsiteX1" fmla="*/ 604139 w 5253379"/>
              <a:gd name="connsiteY1" fmla="*/ 0 h 3293209"/>
              <a:gd name="connsiteX2" fmla="*/ 1155743 w 5253379"/>
              <a:gd name="connsiteY2" fmla="*/ 0 h 3293209"/>
              <a:gd name="connsiteX3" fmla="*/ 1654814 w 5253379"/>
              <a:gd name="connsiteY3" fmla="*/ 0 h 3293209"/>
              <a:gd name="connsiteX4" fmla="*/ 2364021 w 5253379"/>
              <a:gd name="connsiteY4" fmla="*/ 0 h 3293209"/>
              <a:gd name="connsiteX5" fmla="*/ 3020693 w 5253379"/>
              <a:gd name="connsiteY5" fmla="*/ 0 h 3293209"/>
              <a:gd name="connsiteX6" fmla="*/ 3782433 w 5253379"/>
              <a:gd name="connsiteY6" fmla="*/ 0 h 3293209"/>
              <a:gd name="connsiteX7" fmla="*/ 4386571 w 5253379"/>
              <a:gd name="connsiteY7" fmla="*/ 0 h 3293209"/>
              <a:gd name="connsiteX8" fmla="*/ 5253379 w 5253379"/>
              <a:gd name="connsiteY8" fmla="*/ 0 h 3293209"/>
              <a:gd name="connsiteX9" fmla="*/ 5253379 w 5253379"/>
              <a:gd name="connsiteY9" fmla="*/ 658642 h 3293209"/>
              <a:gd name="connsiteX10" fmla="*/ 5253379 w 5253379"/>
              <a:gd name="connsiteY10" fmla="*/ 1350216 h 3293209"/>
              <a:gd name="connsiteX11" fmla="*/ 5253379 w 5253379"/>
              <a:gd name="connsiteY11" fmla="*/ 1942993 h 3293209"/>
              <a:gd name="connsiteX12" fmla="*/ 5253379 w 5253379"/>
              <a:gd name="connsiteY12" fmla="*/ 2667499 h 3293209"/>
              <a:gd name="connsiteX13" fmla="*/ 5253379 w 5253379"/>
              <a:gd name="connsiteY13" fmla="*/ 3293209 h 3293209"/>
              <a:gd name="connsiteX14" fmla="*/ 4544173 w 5253379"/>
              <a:gd name="connsiteY14" fmla="*/ 3293209 h 3293209"/>
              <a:gd name="connsiteX15" fmla="*/ 3940034 w 5253379"/>
              <a:gd name="connsiteY15" fmla="*/ 3293209 h 3293209"/>
              <a:gd name="connsiteX16" fmla="*/ 3440963 w 5253379"/>
              <a:gd name="connsiteY16" fmla="*/ 3293209 h 3293209"/>
              <a:gd name="connsiteX17" fmla="*/ 2731757 w 5253379"/>
              <a:gd name="connsiteY17" fmla="*/ 3293209 h 3293209"/>
              <a:gd name="connsiteX18" fmla="*/ 2075085 w 5253379"/>
              <a:gd name="connsiteY18" fmla="*/ 3293209 h 3293209"/>
              <a:gd name="connsiteX19" fmla="*/ 1576014 w 5253379"/>
              <a:gd name="connsiteY19" fmla="*/ 3293209 h 3293209"/>
              <a:gd name="connsiteX20" fmla="*/ 866808 w 5253379"/>
              <a:gd name="connsiteY20" fmla="*/ 3293209 h 3293209"/>
              <a:gd name="connsiteX21" fmla="*/ 0 w 5253379"/>
              <a:gd name="connsiteY21" fmla="*/ 3293209 h 3293209"/>
              <a:gd name="connsiteX22" fmla="*/ 0 w 5253379"/>
              <a:gd name="connsiteY22" fmla="*/ 2700431 h 3293209"/>
              <a:gd name="connsiteX23" fmla="*/ 0 w 5253379"/>
              <a:gd name="connsiteY23" fmla="*/ 2140586 h 3293209"/>
              <a:gd name="connsiteX24" fmla="*/ 0 w 5253379"/>
              <a:gd name="connsiteY24" fmla="*/ 1580740 h 3293209"/>
              <a:gd name="connsiteX25" fmla="*/ 0 w 5253379"/>
              <a:gd name="connsiteY25" fmla="*/ 1020895 h 3293209"/>
              <a:gd name="connsiteX26" fmla="*/ 0 w 5253379"/>
              <a:gd name="connsiteY26" fmla="*/ 0 h 329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53379" h="3293209" extrusionOk="0">
                <a:moveTo>
                  <a:pt x="0" y="0"/>
                </a:moveTo>
                <a:cubicBezTo>
                  <a:pt x="262465" y="-24761"/>
                  <a:pt x="440793" y="-16693"/>
                  <a:pt x="604139" y="0"/>
                </a:cubicBezTo>
                <a:cubicBezTo>
                  <a:pt x="767485" y="16693"/>
                  <a:pt x="1017345" y="12537"/>
                  <a:pt x="1155743" y="0"/>
                </a:cubicBezTo>
                <a:cubicBezTo>
                  <a:pt x="1294141" y="-12537"/>
                  <a:pt x="1410170" y="-22574"/>
                  <a:pt x="1654814" y="0"/>
                </a:cubicBezTo>
                <a:cubicBezTo>
                  <a:pt x="1899458" y="22574"/>
                  <a:pt x="2182752" y="-23266"/>
                  <a:pt x="2364021" y="0"/>
                </a:cubicBezTo>
                <a:cubicBezTo>
                  <a:pt x="2545290" y="23266"/>
                  <a:pt x="2856923" y="21154"/>
                  <a:pt x="3020693" y="0"/>
                </a:cubicBezTo>
                <a:cubicBezTo>
                  <a:pt x="3184463" y="-21154"/>
                  <a:pt x="3624571" y="25989"/>
                  <a:pt x="3782433" y="0"/>
                </a:cubicBezTo>
                <a:cubicBezTo>
                  <a:pt x="3940295" y="-25989"/>
                  <a:pt x="4096813" y="19730"/>
                  <a:pt x="4386571" y="0"/>
                </a:cubicBezTo>
                <a:cubicBezTo>
                  <a:pt x="4676329" y="-19730"/>
                  <a:pt x="4926399" y="10140"/>
                  <a:pt x="5253379" y="0"/>
                </a:cubicBezTo>
                <a:cubicBezTo>
                  <a:pt x="5234883" y="156635"/>
                  <a:pt x="5264527" y="417513"/>
                  <a:pt x="5253379" y="658642"/>
                </a:cubicBezTo>
                <a:cubicBezTo>
                  <a:pt x="5242231" y="899771"/>
                  <a:pt x="5247436" y="1082540"/>
                  <a:pt x="5253379" y="1350216"/>
                </a:cubicBezTo>
                <a:cubicBezTo>
                  <a:pt x="5259322" y="1617892"/>
                  <a:pt x="5243646" y="1820254"/>
                  <a:pt x="5253379" y="1942993"/>
                </a:cubicBezTo>
                <a:cubicBezTo>
                  <a:pt x="5263112" y="2065732"/>
                  <a:pt x="5254694" y="2356468"/>
                  <a:pt x="5253379" y="2667499"/>
                </a:cubicBezTo>
                <a:cubicBezTo>
                  <a:pt x="5252064" y="2978530"/>
                  <a:pt x="5248364" y="3061770"/>
                  <a:pt x="5253379" y="3293209"/>
                </a:cubicBezTo>
                <a:cubicBezTo>
                  <a:pt x="5097829" y="3260292"/>
                  <a:pt x="4757962" y="3295859"/>
                  <a:pt x="4544173" y="3293209"/>
                </a:cubicBezTo>
                <a:cubicBezTo>
                  <a:pt x="4330384" y="3290559"/>
                  <a:pt x="4104189" y="3283558"/>
                  <a:pt x="3940034" y="3293209"/>
                </a:cubicBezTo>
                <a:cubicBezTo>
                  <a:pt x="3775879" y="3302860"/>
                  <a:pt x="3593874" y="3285640"/>
                  <a:pt x="3440963" y="3293209"/>
                </a:cubicBezTo>
                <a:cubicBezTo>
                  <a:pt x="3288052" y="3300778"/>
                  <a:pt x="3062846" y="3326880"/>
                  <a:pt x="2731757" y="3293209"/>
                </a:cubicBezTo>
                <a:cubicBezTo>
                  <a:pt x="2400668" y="3259538"/>
                  <a:pt x="2337798" y="3272164"/>
                  <a:pt x="2075085" y="3293209"/>
                </a:cubicBezTo>
                <a:cubicBezTo>
                  <a:pt x="1812372" y="3314254"/>
                  <a:pt x="1694871" y="3301244"/>
                  <a:pt x="1576014" y="3293209"/>
                </a:cubicBezTo>
                <a:cubicBezTo>
                  <a:pt x="1457157" y="3285174"/>
                  <a:pt x="1054356" y="3258135"/>
                  <a:pt x="866808" y="3293209"/>
                </a:cubicBezTo>
                <a:cubicBezTo>
                  <a:pt x="679260" y="3328283"/>
                  <a:pt x="270758" y="3330183"/>
                  <a:pt x="0" y="3293209"/>
                </a:cubicBezTo>
                <a:cubicBezTo>
                  <a:pt x="25347" y="3050553"/>
                  <a:pt x="25457" y="2992802"/>
                  <a:pt x="0" y="2700431"/>
                </a:cubicBezTo>
                <a:cubicBezTo>
                  <a:pt x="-25457" y="2408060"/>
                  <a:pt x="14868" y="2408342"/>
                  <a:pt x="0" y="2140586"/>
                </a:cubicBezTo>
                <a:cubicBezTo>
                  <a:pt x="-14868" y="1872831"/>
                  <a:pt x="17825" y="1732694"/>
                  <a:pt x="0" y="1580740"/>
                </a:cubicBezTo>
                <a:cubicBezTo>
                  <a:pt x="-17825" y="1428786"/>
                  <a:pt x="5799" y="1289266"/>
                  <a:pt x="0" y="1020895"/>
                </a:cubicBezTo>
                <a:cubicBezTo>
                  <a:pt x="-5799" y="752525"/>
                  <a:pt x="-13136" y="289819"/>
                  <a:pt x="0" y="0"/>
                </a:cubicBezTo>
                <a:close/>
              </a:path>
            </a:pathLst>
          </a:custGeom>
          <a:noFill/>
          <a:ln>
            <a:solidFill>
              <a:schemeClr val="tx1"/>
            </a:solidFill>
            <a:extLst>
              <a:ext uri="{C807C97D-BFC1-408E-A445-0C87EB9F89A2}">
                <ask:lineSketchStyleProps xmlns:ask="http://schemas.microsoft.com/office/drawing/2018/sketchyshapes" sd="2395695291">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MMITTED</a:t>
            </a:r>
            <a:r>
              <a:rPr lang="en-US" sz="1600" dirty="0">
                <a:solidFill>
                  <a:srgbClr val="000000"/>
                </a:solidFill>
                <a:latin typeface="Consolas" panose="020B0609020204030204" pitchFamily="49" charset="0"/>
              </a:rPr>
              <a:t> </a:t>
            </a:r>
            <a:r>
              <a:rPr lang="en-US" sz="1600" dirty="0">
                <a:solidFill>
                  <a:srgbClr val="008000"/>
                </a:solidFill>
                <a:latin typeface="Consolas" panose="020B0609020204030204" pitchFamily="49" charset="0"/>
              </a:rPr>
              <a:t>-- Before Example</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Switch for Exampl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8" name="TextBox 7">
            <a:extLst>
              <a:ext uri="{FF2B5EF4-FFF2-40B4-BE49-F238E27FC236}">
                <a16:creationId xmlns:a16="http://schemas.microsoft.com/office/drawing/2014/main" id="{FA33096E-ED6A-69EC-2CD8-5571FF6D9169}"/>
              </a:ext>
            </a:extLst>
          </p:cNvPr>
          <p:cNvSpPr txBox="1"/>
          <p:nvPr/>
        </p:nvSpPr>
        <p:spPr>
          <a:xfrm>
            <a:off x="395270" y="4534982"/>
            <a:ext cx="5282940" cy="1815882"/>
          </a:xfrm>
          <a:custGeom>
            <a:avLst/>
            <a:gdLst>
              <a:gd name="connsiteX0" fmla="*/ 0 w 5282940"/>
              <a:gd name="connsiteY0" fmla="*/ 0 h 1815882"/>
              <a:gd name="connsiteX1" fmla="*/ 713197 w 5282940"/>
              <a:gd name="connsiteY1" fmla="*/ 0 h 1815882"/>
              <a:gd name="connsiteX2" fmla="*/ 1373564 w 5282940"/>
              <a:gd name="connsiteY2" fmla="*/ 0 h 1815882"/>
              <a:gd name="connsiteX3" fmla="*/ 2086761 w 5282940"/>
              <a:gd name="connsiteY3" fmla="*/ 0 h 1815882"/>
              <a:gd name="connsiteX4" fmla="*/ 2852788 w 5282940"/>
              <a:gd name="connsiteY4" fmla="*/ 0 h 1815882"/>
              <a:gd name="connsiteX5" fmla="*/ 3354667 w 5282940"/>
              <a:gd name="connsiteY5" fmla="*/ 0 h 1815882"/>
              <a:gd name="connsiteX6" fmla="*/ 4067864 w 5282940"/>
              <a:gd name="connsiteY6" fmla="*/ 0 h 1815882"/>
              <a:gd name="connsiteX7" fmla="*/ 4569743 w 5282940"/>
              <a:gd name="connsiteY7" fmla="*/ 0 h 1815882"/>
              <a:gd name="connsiteX8" fmla="*/ 5282940 w 5282940"/>
              <a:gd name="connsiteY8" fmla="*/ 0 h 1815882"/>
              <a:gd name="connsiteX9" fmla="*/ 5282940 w 5282940"/>
              <a:gd name="connsiteY9" fmla="*/ 623453 h 1815882"/>
              <a:gd name="connsiteX10" fmla="*/ 5282940 w 5282940"/>
              <a:gd name="connsiteY10" fmla="*/ 1228747 h 1815882"/>
              <a:gd name="connsiteX11" fmla="*/ 5282940 w 5282940"/>
              <a:gd name="connsiteY11" fmla="*/ 1815882 h 1815882"/>
              <a:gd name="connsiteX12" fmla="*/ 4516914 w 5282940"/>
              <a:gd name="connsiteY12" fmla="*/ 1815882 h 1815882"/>
              <a:gd name="connsiteX13" fmla="*/ 3909376 w 5282940"/>
              <a:gd name="connsiteY13" fmla="*/ 1815882 h 1815882"/>
              <a:gd name="connsiteX14" fmla="*/ 3354667 w 5282940"/>
              <a:gd name="connsiteY14" fmla="*/ 1815882 h 1815882"/>
              <a:gd name="connsiteX15" fmla="*/ 2852788 w 5282940"/>
              <a:gd name="connsiteY15" fmla="*/ 1815882 h 1815882"/>
              <a:gd name="connsiteX16" fmla="*/ 2086761 w 5282940"/>
              <a:gd name="connsiteY16" fmla="*/ 1815882 h 1815882"/>
              <a:gd name="connsiteX17" fmla="*/ 1584882 w 5282940"/>
              <a:gd name="connsiteY17" fmla="*/ 1815882 h 1815882"/>
              <a:gd name="connsiteX18" fmla="*/ 924515 w 5282940"/>
              <a:gd name="connsiteY18" fmla="*/ 1815882 h 1815882"/>
              <a:gd name="connsiteX19" fmla="*/ 0 w 5282940"/>
              <a:gd name="connsiteY19" fmla="*/ 1815882 h 1815882"/>
              <a:gd name="connsiteX20" fmla="*/ 0 w 5282940"/>
              <a:gd name="connsiteY20" fmla="*/ 1265064 h 1815882"/>
              <a:gd name="connsiteX21" fmla="*/ 0 w 5282940"/>
              <a:gd name="connsiteY21" fmla="*/ 641612 h 1815882"/>
              <a:gd name="connsiteX22" fmla="*/ 0 w 5282940"/>
              <a:gd name="connsiteY22" fmla="*/ 0 h 18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282940" h="1815882" extrusionOk="0">
                <a:moveTo>
                  <a:pt x="0" y="0"/>
                </a:moveTo>
                <a:cubicBezTo>
                  <a:pt x="198849" y="-31325"/>
                  <a:pt x="406848" y="-34601"/>
                  <a:pt x="713197" y="0"/>
                </a:cubicBezTo>
                <a:cubicBezTo>
                  <a:pt x="1019546" y="34601"/>
                  <a:pt x="1070339" y="-24222"/>
                  <a:pt x="1373564" y="0"/>
                </a:cubicBezTo>
                <a:cubicBezTo>
                  <a:pt x="1676789" y="24222"/>
                  <a:pt x="1924225" y="-32818"/>
                  <a:pt x="2086761" y="0"/>
                </a:cubicBezTo>
                <a:cubicBezTo>
                  <a:pt x="2249297" y="32818"/>
                  <a:pt x="2506616" y="15469"/>
                  <a:pt x="2852788" y="0"/>
                </a:cubicBezTo>
                <a:cubicBezTo>
                  <a:pt x="3198960" y="-15469"/>
                  <a:pt x="3139544" y="13930"/>
                  <a:pt x="3354667" y="0"/>
                </a:cubicBezTo>
                <a:cubicBezTo>
                  <a:pt x="3569790" y="-13930"/>
                  <a:pt x="3802467" y="-26407"/>
                  <a:pt x="4067864" y="0"/>
                </a:cubicBezTo>
                <a:cubicBezTo>
                  <a:pt x="4333261" y="26407"/>
                  <a:pt x="4467158" y="-486"/>
                  <a:pt x="4569743" y="0"/>
                </a:cubicBezTo>
                <a:cubicBezTo>
                  <a:pt x="4672328" y="486"/>
                  <a:pt x="5102701" y="-32647"/>
                  <a:pt x="5282940" y="0"/>
                </a:cubicBezTo>
                <a:cubicBezTo>
                  <a:pt x="5287107" y="188900"/>
                  <a:pt x="5287270" y="484011"/>
                  <a:pt x="5282940" y="623453"/>
                </a:cubicBezTo>
                <a:cubicBezTo>
                  <a:pt x="5278610" y="762895"/>
                  <a:pt x="5253695" y="961666"/>
                  <a:pt x="5282940" y="1228747"/>
                </a:cubicBezTo>
                <a:cubicBezTo>
                  <a:pt x="5312185" y="1495828"/>
                  <a:pt x="5279145" y="1572322"/>
                  <a:pt x="5282940" y="1815882"/>
                </a:cubicBezTo>
                <a:cubicBezTo>
                  <a:pt x="4920524" y="1836568"/>
                  <a:pt x="4885354" y="1813646"/>
                  <a:pt x="4516914" y="1815882"/>
                </a:cubicBezTo>
                <a:cubicBezTo>
                  <a:pt x="4148474" y="1818118"/>
                  <a:pt x="4153947" y="1840778"/>
                  <a:pt x="3909376" y="1815882"/>
                </a:cubicBezTo>
                <a:cubicBezTo>
                  <a:pt x="3664805" y="1790986"/>
                  <a:pt x="3513460" y="1832728"/>
                  <a:pt x="3354667" y="1815882"/>
                </a:cubicBezTo>
                <a:cubicBezTo>
                  <a:pt x="3195874" y="1799036"/>
                  <a:pt x="3050035" y="1821465"/>
                  <a:pt x="2852788" y="1815882"/>
                </a:cubicBezTo>
                <a:cubicBezTo>
                  <a:pt x="2655541" y="1810299"/>
                  <a:pt x="2343345" y="1841161"/>
                  <a:pt x="2086761" y="1815882"/>
                </a:cubicBezTo>
                <a:cubicBezTo>
                  <a:pt x="1830177" y="1790603"/>
                  <a:pt x="1790074" y="1836869"/>
                  <a:pt x="1584882" y="1815882"/>
                </a:cubicBezTo>
                <a:cubicBezTo>
                  <a:pt x="1379690" y="1794895"/>
                  <a:pt x="1138723" y="1841685"/>
                  <a:pt x="924515" y="1815882"/>
                </a:cubicBezTo>
                <a:cubicBezTo>
                  <a:pt x="710307" y="1790079"/>
                  <a:pt x="307233" y="1809128"/>
                  <a:pt x="0" y="1815882"/>
                </a:cubicBezTo>
                <a:cubicBezTo>
                  <a:pt x="11022" y="1668184"/>
                  <a:pt x="-21205" y="1529498"/>
                  <a:pt x="0" y="1265064"/>
                </a:cubicBezTo>
                <a:cubicBezTo>
                  <a:pt x="21205" y="1000630"/>
                  <a:pt x="18360" y="938245"/>
                  <a:pt x="0" y="641612"/>
                </a:cubicBezTo>
                <a:cubicBezTo>
                  <a:pt x="-18360" y="344979"/>
                  <a:pt x="-17898" y="144601"/>
                  <a:pt x="0" y="0"/>
                </a:cubicBezTo>
                <a:close/>
              </a:path>
            </a:pathLst>
          </a:custGeom>
          <a:noFill/>
          <a:ln>
            <a:solidFill>
              <a:schemeClr val="tx1"/>
            </a:solidFill>
            <a:extLst>
              <a:ext uri="{C807C97D-BFC1-408E-A445-0C87EB9F89A2}">
                <ask:lineSketchStyleProps xmlns:ask="http://schemas.microsoft.com/office/drawing/2018/sketchyshapes" sd="228258262">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Repeatable Read - Session 2</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FF00FF"/>
                </a:solidFill>
                <a:latin typeface="Consolas" panose="020B0609020204030204" pitchFamily="49" charset="0"/>
              </a:rPr>
              <a:t>UPDATE</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pPr lvl="1"/>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ModifiedDate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20130105</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cxnSp>
        <p:nvCxnSpPr>
          <p:cNvPr id="17" name="Straight Connector 16">
            <a:extLst>
              <a:ext uri="{FF2B5EF4-FFF2-40B4-BE49-F238E27FC236}">
                <a16:creationId xmlns:a16="http://schemas.microsoft.com/office/drawing/2014/main" id="{B273A0C0-000B-D9E8-26FF-A37399318CEA}"/>
              </a:ext>
            </a:extLst>
          </p:cNvPr>
          <p:cNvCxnSpPr/>
          <p:nvPr/>
        </p:nvCxnSpPr>
        <p:spPr>
          <a:xfrm>
            <a:off x="8873415" y="1875453"/>
            <a:ext cx="0" cy="361094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386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BC3760B-FF9B-4679-44C9-775DAB3BE794}"/>
              </a:ext>
            </a:extLst>
          </p:cNvPr>
          <p:cNvGrpSpPr/>
          <p:nvPr/>
        </p:nvGrpSpPr>
        <p:grpSpPr>
          <a:xfrm>
            <a:off x="4508797" y="4892339"/>
            <a:ext cx="1855314" cy="685703"/>
            <a:chOff x="4667418" y="4450323"/>
            <a:chExt cx="1855314" cy="685703"/>
          </a:xfrm>
        </p:grpSpPr>
        <p:sp>
          <p:nvSpPr>
            <p:cNvPr id="8" name="Right Arrow 7"/>
            <p:cNvSpPr/>
            <p:nvPr/>
          </p:nvSpPr>
          <p:spPr bwMode="auto">
            <a:xfrm>
              <a:off x="4667418" y="4450323"/>
              <a:ext cx="1855314" cy="685703"/>
            </a:xfrm>
            <a:prstGeom prst="rightArrow">
              <a:avLst/>
            </a:prstGeom>
            <a:solidFill>
              <a:schemeClr val="accent1">
                <a:lumMod val="75000"/>
              </a:schemeClr>
            </a:solidFill>
            <a:ln w="9525" cap="flat" cmpd="sng" algn="ctr">
              <a:noFill/>
              <a:prstDash val="solid"/>
              <a:round/>
              <a:headEnd type="none" w="med" len="med"/>
              <a:tailEnd type="none" w="med" len="med"/>
            </a:ln>
            <a:effectLst>
              <a:outerShdw dist="35921" dir="2700000" algn="ctr" rotWithShape="0">
                <a:srgbClr val="AFAFAF"/>
              </a:outerShdw>
            </a:effectLst>
          </p:spPr>
          <p:txBody>
            <a:bodyPr vert="horz" wrap="square" lIns="137141" tIns="34286" rIns="137141" bIns="34286" numCol="1" rtlCol="0" anchor="ctr" anchorCtr="0" compatLnSpc="1">
              <a:prstTxWarp prst="textNoShape">
                <a:avLst/>
              </a:prstTxWarp>
            </a:bodyPr>
            <a:lstStyle/>
            <a:p>
              <a:pPr algn="ctr" defTabSz="914225" eaLnBrk="0" fontAlgn="base" hangingPunct="0">
                <a:spcBef>
                  <a:spcPct val="0"/>
                </a:spcBef>
                <a:spcAft>
                  <a:spcPct val="0"/>
                </a:spcAft>
              </a:pPr>
              <a:endParaRPr lang="en-US" sz="1350" b="1">
                <a:solidFill>
                  <a:prstClr val="black"/>
                </a:solidFill>
                <a:latin typeface="Verdana" pitchFamily="34" charset="0"/>
              </a:endParaRPr>
            </a:p>
          </p:txBody>
        </p:sp>
        <p:sp>
          <p:nvSpPr>
            <p:cNvPr id="9" name="TextBox 8"/>
            <p:cNvSpPr txBox="1"/>
            <p:nvPr/>
          </p:nvSpPr>
          <p:spPr>
            <a:xfrm>
              <a:off x="4783265" y="4643154"/>
              <a:ext cx="1623618" cy="304207"/>
            </a:xfrm>
            <a:prstGeom prst="rect">
              <a:avLst/>
            </a:prstGeom>
            <a:noFill/>
          </p:spPr>
          <p:txBody>
            <a:bodyPr wrap="square" rtlCol="0">
              <a:spAutoFit/>
            </a:bodyPr>
            <a:lstStyle/>
            <a:p>
              <a:pPr defTabSz="914225"/>
              <a:r>
                <a:rPr lang="en-US" sz="1350" dirty="0">
                  <a:solidFill>
                    <a:prstClr val="white"/>
                  </a:solidFill>
                  <a:latin typeface="Segoe UI"/>
                </a:rPr>
                <a:t>Missing records</a:t>
              </a:r>
            </a:p>
          </p:txBody>
        </p:sp>
      </p:grpSp>
      <p:sp>
        <p:nvSpPr>
          <p:cNvPr id="12" name="Title 1">
            <a:extLst>
              <a:ext uri="{FF2B5EF4-FFF2-40B4-BE49-F238E27FC236}">
                <a16:creationId xmlns:a16="http://schemas.microsoft.com/office/drawing/2014/main" id="{81C602D6-3AD0-4717-9F94-42F6FF9401BD}"/>
              </a:ext>
            </a:extLst>
          </p:cNvPr>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Phantom Reads</a:t>
            </a:r>
          </a:p>
        </p:txBody>
      </p:sp>
      <p:sp>
        <p:nvSpPr>
          <p:cNvPr id="5" name="TextBox 4">
            <a:extLst>
              <a:ext uri="{FF2B5EF4-FFF2-40B4-BE49-F238E27FC236}">
                <a16:creationId xmlns:a16="http://schemas.microsoft.com/office/drawing/2014/main" id="{8D55E854-868E-064C-4E67-888944A5F56D}"/>
              </a:ext>
            </a:extLst>
          </p:cNvPr>
          <p:cNvSpPr txBox="1"/>
          <p:nvPr/>
        </p:nvSpPr>
        <p:spPr>
          <a:xfrm>
            <a:off x="762778" y="788854"/>
            <a:ext cx="4583663" cy="3539430"/>
          </a:xfrm>
          <a:custGeom>
            <a:avLst/>
            <a:gdLst>
              <a:gd name="connsiteX0" fmla="*/ 0 w 4583663"/>
              <a:gd name="connsiteY0" fmla="*/ 0 h 3539430"/>
              <a:gd name="connsiteX1" fmla="*/ 517299 w 4583663"/>
              <a:gd name="connsiteY1" fmla="*/ 0 h 3539430"/>
              <a:gd name="connsiteX2" fmla="*/ 1263781 w 4583663"/>
              <a:gd name="connsiteY2" fmla="*/ 0 h 3539430"/>
              <a:gd name="connsiteX3" fmla="*/ 1872754 w 4583663"/>
              <a:gd name="connsiteY3" fmla="*/ 0 h 3539430"/>
              <a:gd name="connsiteX4" fmla="*/ 2390053 w 4583663"/>
              <a:gd name="connsiteY4" fmla="*/ 0 h 3539430"/>
              <a:gd name="connsiteX5" fmla="*/ 2907352 w 4583663"/>
              <a:gd name="connsiteY5" fmla="*/ 0 h 3539430"/>
              <a:gd name="connsiteX6" fmla="*/ 3424651 w 4583663"/>
              <a:gd name="connsiteY6" fmla="*/ 0 h 3539430"/>
              <a:gd name="connsiteX7" fmla="*/ 4583663 w 4583663"/>
              <a:gd name="connsiteY7" fmla="*/ 0 h 3539430"/>
              <a:gd name="connsiteX8" fmla="*/ 4583663 w 4583663"/>
              <a:gd name="connsiteY8" fmla="*/ 519116 h 3539430"/>
              <a:gd name="connsiteX9" fmla="*/ 4583663 w 4583663"/>
              <a:gd name="connsiteY9" fmla="*/ 1144416 h 3539430"/>
              <a:gd name="connsiteX10" fmla="*/ 4583663 w 4583663"/>
              <a:gd name="connsiteY10" fmla="*/ 1805109 h 3539430"/>
              <a:gd name="connsiteX11" fmla="*/ 4583663 w 4583663"/>
              <a:gd name="connsiteY11" fmla="*/ 2359620 h 3539430"/>
              <a:gd name="connsiteX12" fmla="*/ 4583663 w 4583663"/>
              <a:gd name="connsiteY12" fmla="*/ 2843342 h 3539430"/>
              <a:gd name="connsiteX13" fmla="*/ 4583663 w 4583663"/>
              <a:gd name="connsiteY13" fmla="*/ 3539430 h 3539430"/>
              <a:gd name="connsiteX14" fmla="*/ 4020527 w 4583663"/>
              <a:gd name="connsiteY14" fmla="*/ 3539430 h 3539430"/>
              <a:gd name="connsiteX15" fmla="*/ 3319882 w 4583663"/>
              <a:gd name="connsiteY15" fmla="*/ 3539430 h 3539430"/>
              <a:gd name="connsiteX16" fmla="*/ 2802583 w 4583663"/>
              <a:gd name="connsiteY16" fmla="*/ 3539430 h 3539430"/>
              <a:gd name="connsiteX17" fmla="*/ 2239447 w 4583663"/>
              <a:gd name="connsiteY17" fmla="*/ 3539430 h 3539430"/>
              <a:gd name="connsiteX18" fmla="*/ 1584638 w 4583663"/>
              <a:gd name="connsiteY18" fmla="*/ 3539430 h 3539430"/>
              <a:gd name="connsiteX19" fmla="*/ 838156 w 4583663"/>
              <a:gd name="connsiteY19" fmla="*/ 3539430 h 3539430"/>
              <a:gd name="connsiteX20" fmla="*/ 0 w 4583663"/>
              <a:gd name="connsiteY20" fmla="*/ 3539430 h 3539430"/>
              <a:gd name="connsiteX21" fmla="*/ 0 w 4583663"/>
              <a:gd name="connsiteY21" fmla="*/ 3055708 h 3539430"/>
              <a:gd name="connsiteX22" fmla="*/ 0 w 4583663"/>
              <a:gd name="connsiteY22" fmla="*/ 2571986 h 3539430"/>
              <a:gd name="connsiteX23" fmla="*/ 0 w 4583663"/>
              <a:gd name="connsiteY23" fmla="*/ 2052869 h 3539430"/>
              <a:gd name="connsiteX24" fmla="*/ 0 w 4583663"/>
              <a:gd name="connsiteY24" fmla="*/ 1392176 h 3539430"/>
              <a:gd name="connsiteX25" fmla="*/ 0 w 4583663"/>
              <a:gd name="connsiteY25" fmla="*/ 802271 h 3539430"/>
              <a:gd name="connsiteX26" fmla="*/ 0 w 4583663"/>
              <a:gd name="connsiteY26" fmla="*/ 0 h 3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83663" h="3539430" extrusionOk="0">
                <a:moveTo>
                  <a:pt x="0" y="0"/>
                </a:moveTo>
                <a:cubicBezTo>
                  <a:pt x="258622" y="3981"/>
                  <a:pt x="317950" y="-7286"/>
                  <a:pt x="517299" y="0"/>
                </a:cubicBezTo>
                <a:cubicBezTo>
                  <a:pt x="716648" y="7286"/>
                  <a:pt x="998810" y="25331"/>
                  <a:pt x="1263781" y="0"/>
                </a:cubicBezTo>
                <a:cubicBezTo>
                  <a:pt x="1528752" y="-25331"/>
                  <a:pt x="1588931" y="-14697"/>
                  <a:pt x="1872754" y="0"/>
                </a:cubicBezTo>
                <a:cubicBezTo>
                  <a:pt x="2156577" y="14697"/>
                  <a:pt x="2268048" y="17910"/>
                  <a:pt x="2390053" y="0"/>
                </a:cubicBezTo>
                <a:cubicBezTo>
                  <a:pt x="2512058" y="-17910"/>
                  <a:pt x="2670440" y="-18538"/>
                  <a:pt x="2907352" y="0"/>
                </a:cubicBezTo>
                <a:cubicBezTo>
                  <a:pt x="3144264" y="18538"/>
                  <a:pt x="3286955" y="15184"/>
                  <a:pt x="3424651" y="0"/>
                </a:cubicBezTo>
                <a:cubicBezTo>
                  <a:pt x="3562347" y="-15184"/>
                  <a:pt x="4134852" y="-5601"/>
                  <a:pt x="4583663" y="0"/>
                </a:cubicBezTo>
                <a:cubicBezTo>
                  <a:pt x="4570458" y="217411"/>
                  <a:pt x="4596986" y="291050"/>
                  <a:pt x="4583663" y="519116"/>
                </a:cubicBezTo>
                <a:cubicBezTo>
                  <a:pt x="4570340" y="747182"/>
                  <a:pt x="4559200" y="939308"/>
                  <a:pt x="4583663" y="1144416"/>
                </a:cubicBezTo>
                <a:cubicBezTo>
                  <a:pt x="4608126" y="1349524"/>
                  <a:pt x="4597549" y="1511898"/>
                  <a:pt x="4583663" y="1805109"/>
                </a:cubicBezTo>
                <a:cubicBezTo>
                  <a:pt x="4569777" y="2098320"/>
                  <a:pt x="4594988" y="2101277"/>
                  <a:pt x="4583663" y="2359620"/>
                </a:cubicBezTo>
                <a:cubicBezTo>
                  <a:pt x="4572338" y="2617963"/>
                  <a:pt x="4605173" y="2618117"/>
                  <a:pt x="4583663" y="2843342"/>
                </a:cubicBezTo>
                <a:cubicBezTo>
                  <a:pt x="4562153" y="3068567"/>
                  <a:pt x="4587057" y="3397645"/>
                  <a:pt x="4583663" y="3539430"/>
                </a:cubicBezTo>
                <a:cubicBezTo>
                  <a:pt x="4382403" y="3565253"/>
                  <a:pt x="4201934" y="3553015"/>
                  <a:pt x="4020527" y="3539430"/>
                </a:cubicBezTo>
                <a:cubicBezTo>
                  <a:pt x="3839120" y="3525845"/>
                  <a:pt x="3523817" y="3570332"/>
                  <a:pt x="3319882" y="3539430"/>
                </a:cubicBezTo>
                <a:cubicBezTo>
                  <a:pt x="3115948" y="3508528"/>
                  <a:pt x="3044709" y="3561850"/>
                  <a:pt x="2802583" y="3539430"/>
                </a:cubicBezTo>
                <a:cubicBezTo>
                  <a:pt x="2560457" y="3517010"/>
                  <a:pt x="2512316" y="3516673"/>
                  <a:pt x="2239447" y="3539430"/>
                </a:cubicBezTo>
                <a:cubicBezTo>
                  <a:pt x="1966578" y="3562187"/>
                  <a:pt x="1875769" y="3534211"/>
                  <a:pt x="1584638" y="3539430"/>
                </a:cubicBezTo>
                <a:cubicBezTo>
                  <a:pt x="1293507" y="3544649"/>
                  <a:pt x="1145818" y="3550796"/>
                  <a:pt x="838156" y="3539430"/>
                </a:cubicBezTo>
                <a:cubicBezTo>
                  <a:pt x="530494" y="3528064"/>
                  <a:pt x="325457" y="3510337"/>
                  <a:pt x="0" y="3539430"/>
                </a:cubicBezTo>
                <a:cubicBezTo>
                  <a:pt x="1715" y="3352560"/>
                  <a:pt x="7725" y="3223367"/>
                  <a:pt x="0" y="3055708"/>
                </a:cubicBezTo>
                <a:cubicBezTo>
                  <a:pt x="-7725" y="2888049"/>
                  <a:pt x="-4534" y="2786568"/>
                  <a:pt x="0" y="2571986"/>
                </a:cubicBezTo>
                <a:cubicBezTo>
                  <a:pt x="4534" y="2357404"/>
                  <a:pt x="7974" y="2188381"/>
                  <a:pt x="0" y="2052869"/>
                </a:cubicBezTo>
                <a:cubicBezTo>
                  <a:pt x="-7974" y="1917357"/>
                  <a:pt x="-5539" y="1661348"/>
                  <a:pt x="0" y="1392176"/>
                </a:cubicBezTo>
                <a:cubicBezTo>
                  <a:pt x="5539" y="1123004"/>
                  <a:pt x="-18306" y="1056794"/>
                  <a:pt x="0" y="802271"/>
                </a:cubicBezTo>
                <a:cubicBezTo>
                  <a:pt x="18306" y="547748"/>
                  <a:pt x="10480" y="326336"/>
                  <a:pt x="0" y="0"/>
                </a:cubicBezTo>
                <a:close/>
              </a:path>
            </a:pathLst>
          </a:custGeom>
          <a:noFill/>
          <a:ln>
            <a:solidFill>
              <a:schemeClr val="tx1"/>
            </a:solidFill>
            <a:extLst>
              <a:ext uri="{C807C97D-BFC1-408E-A445-0C87EB9F89A2}">
                <ask:lineSketchStyleProps xmlns:ask="http://schemas.microsoft.com/office/drawing/2018/sketchyshapes" sd="1172984970">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Phantom Read - Session 1</a:t>
            </a:r>
            <a:endParaRPr lang="en-US" sz="1600" dirty="0">
              <a:solidFill>
                <a:srgbClr val="000000"/>
              </a:solidFill>
              <a:latin typeface="Consolas" panose="020B0609020204030204" pitchFamily="49" charset="0"/>
            </a:endParaRPr>
          </a:p>
          <a:p>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SAC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SOLATIO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LEVEL</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REA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COMMITTE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lvl="1"/>
            <a:r>
              <a:rPr lang="en-US" sz="1600" dirty="0">
                <a:solidFill>
                  <a:srgbClr val="000000"/>
                </a:solidFill>
                <a:latin typeface="Consolas" panose="020B0609020204030204" pitchFamily="49" charset="0"/>
              </a:rPr>
              <a:t>Balan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WAITFO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DELAY</a:t>
            </a:r>
            <a:r>
              <a:rPr lang="en-US" sz="1600" dirty="0">
                <a:solidFill>
                  <a:srgbClr val="000000"/>
                </a:solidFill>
                <a:latin typeface="Consolas" panose="020B0609020204030204" pitchFamily="49" charset="0"/>
              </a:rPr>
              <a:t> </a:t>
            </a:r>
            <a:r>
              <a:rPr lang="en-US" sz="1600" dirty="0">
                <a:solidFill>
                  <a:srgbClr val="FF0000"/>
                </a:solidFill>
                <a:latin typeface="Consolas" panose="020B0609020204030204" pitchFamily="49" charset="0"/>
              </a:rPr>
              <a:t>'00:00:10:000'</a:t>
            </a:r>
            <a:endParaRPr lang="en-US" sz="1600" dirty="0">
              <a:solidFill>
                <a:srgbClr val="000000"/>
              </a:solidFill>
              <a:latin typeface="Consolas" panose="020B0609020204030204" pitchFamily="49" charset="0"/>
            </a:endParaRPr>
          </a:p>
          <a:p>
            <a:pPr lvl="1"/>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cct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cctNam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p>
          <a:p>
            <a:pPr lvl="1"/>
            <a:r>
              <a:rPr lang="en-US" sz="1600" dirty="0">
                <a:solidFill>
                  <a:srgbClr val="000000"/>
                </a:solidFill>
                <a:latin typeface="Consolas" panose="020B0609020204030204" pitchFamily="49" charset="0"/>
              </a:rPr>
              <a:t>Balan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ModifiedDate</a:t>
            </a:r>
          </a:p>
          <a:p>
            <a:pPr lvl="1"/>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sp>
        <p:nvSpPr>
          <p:cNvPr id="7" name="TextBox 6">
            <a:extLst>
              <a:ext uri="{FF2B5EF4-FFF2-40B4-BE49-F238E27FC236}">
                <a16:creationId xmlns:a16="http://schemas.microsoft.com/office/drawing/2014/main" id="{CCDBBD54-F671-A11A-2B75-734745DE634F}"/>
              </a:ext>
            </a:extLst>
          </p:cNvPr>
          <p:cNvSpPr txBox="1"/>
          <p:nvPr/>
        </p:nvSpPr>
        <p:spPr>
          <a:xfrm>
            <a:off x="762778" y="4502629"/>
            <a:ext cx="4583663" cy="1815882"/>
          </a:xfrm>
          <a:custGeom>
            <a:avLst/>
            <a:gdLst>
              <a:gd name="connsiteX0" fmla="*/ 0 w 4583663"/>
              <a:gd name="connsiteY0" fmla="*/ 0 h 1815882"/>
              <a:gd name="connsiteX1" fmla="*/ 654809 w 4583663"/>
              <a:gd name="connsiteY1" fmla="*/ 0 h 1815882"/>
              <a:gd name="connsiteX2" fmla="*/ 1263781 w 4583663"/>
              <a:gd name="connsiteY2" fmla="*/ 0 h 1815882"/>
              <a:gd name="connsiteX3" fmla="*/ 1964427 w 4583663"/>
              <a:gd name="connsiteY3" fmla="*/ 0 h 1815882"/>
              <a:gd name="connsiteX4" fmla="*/ 2619236 w 4583663"/>
              <a:gd name="connsiteY4" fmla="*/ 0 h 1815882"/>
              <a:gd name="connsiteX5" fmla="*/ 3136535 w 4583663"/>
              <a:gd name="connsiteY5" fmla="*/ 0 h 1815882"/>
              <a:gd name="connsiteX6" fmla="*/ 3837181 w 4583663"/>
              <a:gd name="connsiteY6" fmla="*/ 0 h 1815882"/>
              <a:gd name="connsiteX7" fmla="*/ 4583663 w 4583663"/>
              <a:gd name="connsiteY7" fmla="*/ 0 h 1815882"/>
              <a:gd name="connsiteX8" fmla="*/ 4583663 w 4583663"/>
              <a:gd name="connsiteY8" fmla="*/ 623453 h 1815882"/>
              <a:gd name="connsiteX9" fmla="*/ 4583663 w 4583663"/>
              <a:gd name="connsiteY9" fmla="*/ 1228747 h 1815882"/>
              <a:gd name="connsiteX10" fmla="*/ 4583663 w 4583663"/>
              <a:gd name="connsiteY10" fmla="*/ 1815882 h 1815882"/>
              <a:gd name="connsiteX11" fmla="*/ 3883017 w 4583663"/>
              <a:gd name="connsiteY11" fmla="*/ 1815882 h 1815882"/>
              <a:gd name="connsiteX12" fmla="*/ 3274045 w 4583663"/>
              <a:gd name="connsiteY12" fmla="*/ 1815882 h 1815882"/>
              <a:gd name="connsiteX13" fmla="*/ 2619236 w 4583663"/>
              <a:gd name="connsiteY13" fmla="*/ 1815882 h 1815882"/>
              <a:gd name="connsiteX14" fmla="*/ 1918590 w 4583663"/>
              <a:gd name="connsiteY14" fmla="*/ 1815882 h 1815882"/>
              <a:gd name="connsiteX15" fmla="*/ 1401291 w 4583663"/>
              <a:gd name="connsiteY15" fmla="*/ 1815882 h 1815882"/>
              <a:gd name="connsiteX16" fmla="*/ 883992 w 4583663"/>
              <a:gd name="connsiteY16" fmla="*/ 1815882 h 1815882"/>
              <a:gd name="connsiteX17" fmla="*/ 0 w 4583663"/>
              <a:gd name="connsiteY17" fmla="*/ 1815882 h 1815882"/>
              <a:gd name="connsiteX18" fmla="*/ 0 w 4583663"/>
              <a:gd name="connsiteY18" fmla="*/ 1174270 h 1815882"/>
              <a:gd name="connsiteX19" fmla="*/ 0 w 4583663"/>
              <a:gd name="connsiteY19" fmla="*/ 605294 h 1815882"/>
              <a:gd name="connsiteX20" fmla="*/ 0 w 4583663"/>
              <a:gd name="connsiteY20" fmla="*/ 0 h 18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83663" h="1815882" extrusionOk="0">
                <a:moveTo>
                  <a:pt x="0" y="0"/>
                </a:moveTo>
                <a:cubicBezTo>
                  <a:pt x="172325" y="-22281"/>
                  <a:pt x="498823" y="26166"/>
                  <a:pt x="654809" y="0"/>
                </a:cubicBezTo>
                <a:cubicBezTo>
                  <a:pt x="810795" y="-26166"/>
                  <a:pt x="1010336" y="7909"/>
                  <a:pt x="1263781" y="0"/>
                </a:cubicBezTo>
                <a:cubicBezTo>
                  <a:pt x="1517226" y="-7909"/>
                  <a:pt x="1622687" y="8471"/>
                  <a:pt x="1964427" y="0"/>
                </a:cubicBezTo>
                <a:cubicBezTo>
                  <a:pt x="2306167" y="-8471"/>
                  <a:pt x="2418306" y="-10942"/>
                  <a:pt x="2619236" y="0"/>
                </a:cubicBezTo>
                <a:cubicBezTo>
                  <a:pt x="2820166" y="10942"/>
                  <a:pt x="2931043" y="5833"/>
                  <a:pt x="3136535" y="0"/>
                </a:cubicBezTo>
                <a:cubicBezTo>
                  <a:pt x="3342027" y="-5833"/>
                  <a:pt x="3523112" y="-24472"/>
                  <a:pt x="3837181" y="0"/>
                </a:cubicBezTo>
                <a:cubicBezTo>
                  <a:pt x="4151250" y="24472"/>
                  <a:pt x="4428300" y="-30663"/>
                  <a:pt x="4583663" y="0"/>
                </a:cubicBezTo>
                <a:cubicBezTo>
                  <a:pt x="4564983" y="199665"/>
                  <a:pt x="4578074" y="369464"/>
                  <a:pt x="4583663" y="623453"/>
                </a:cubicBezTo>
                <a:cubicBezTo>
                  <a:pt x="4589252" y="877442"/>
                  <a:pt x="4596660" y="960271"/>
                  <a:pt x="4583663" y="1228747"/>
                </a:cubicBezTo>
                <a:cubicBezTo>
                  <a:pt x="4570666" y="1497223"/>
                  <a:pt x="4555305" y="1590771"/>
                  <a:pt x="4583663" y="1815882"/>
                </a:cubicBezTo>
                <a:cubicBezTo>
                  <a:pt x="4386224" y="1802041"/>
                  <a:pt x="4175751" y="1849709"/>
                  <a:pt x="3883017" y="1815882"/>
                </a:cubicBezTo>
                <a:cubicBezTo>
                  <a:pt x="3590283" y="1782055"/>
                  <a:pt x="3545878" y="1839006"/>
                  <a:pt x="3274045" y="1815882"/>
                </a:cubicBezTo>
                <a:cubicBezTo>
                  <a:pt x="3002212" y="1792758"/>
                  <a:pt x="2901109" y="1797591"/>
                  <a:pt x="2619236" y="1815882"/>
                </a:cubicBezTo>
                <a:cubicBezTo>
                  <a:pt x="2337363" y="1834173"/>
                  <a:pt x="2234494" y="1831086"/>
                  <a:pt x="1918590" y="1815882"/>
                </a:cubicBezTo>
                <a:cubicBezTo>
                  <a:pt x="1602686" y="1800678"/>
                  <a:pt x="1657414" y="1792367"/>
                  <a:pt x="1401291" y="1815882"/>
                </a:cubicBezTo>
                <a:cubicBezTo>
                  <a:pt x="1145168" y="1839397"/>
                  <a:pt x="996180" y="1795906"/>
                  <a:pt x="883992" y="1815882"/>
                </a:cubicBezTo>
                <a:cubicBezTo>
                  <a:pt x="771804" y="1835858"/>
                  <a:pt x="425088" y="1790470"/>
                  <a:pt x="0" y="1815882"/>
                </a:cubicBezTo>
                <a:cubicBezTo>
                  <a:pt x="-14379" y="1663985"/>
                  <a:pt x="-9785" y="1392331"/>
                  <a:pt x="0" y="1174270"/>
                </a:cubicBezTo>
                <a:cubicBezTo>
                  <a:pt x="9785" y="956209"/>
                  <a:pt x="4139" y="740447"/>
                  <a:pt x="0" y="605294"/>
                </a:cubicBezTo>
                <a:cubicBezTo>
                  <a:pt x="-4139" y="470141"/>
                  <a:pt x="-1750" y="194185"/>
                  <a:pt x="0" y="0"/>
                </a:cubicBezTo>
                <a:close/>
              </a:path>
            </a:pathLst>
          </a:custGeom>
          <a:noFill/>
          <a:ln>
            <a:solidFill>
              <a:schemeClr val="tx1"/>
            </a:solidFill>
            <a:extLst>
              <a:ext uri="{C807C97D-BFC1-408E-A445-0C87EB9F89A2}">
                <ask:lineSketchStyleProps xmlns:ask="http://schemas.microsoft.com/office/drawing/2018/sketchyshapes" sd="172709623">
                  <a:prstGeom prst="rect">
                    <a:avLst/>
                  </a:prstGeom>
                  <ask:type>
                    <ask:lineSketchFreehand/>
                  </ask:type>
                </ask:lineSketchStyleProps>
              </a:ext>
            </a:extLst>
          </a:ln>
        </p:spPr>
        <p:txBody>
          <a:bodyPr wrap="square">
            <a:spAutoFit/>
          </a:bodyPr>
          <a:lstStyle/>
          <a:p>
            <a:r>
              <a:rPr lang="en-US" sz="1600" dirty="0">
                <a:solidFill>
                  <a:srgbClr val="008000"/>
                </a:solidFill>
                <a:latin typeface="Consolas" panose="020B0609020204030204" pitchFamily="49" charset="0"/>
              </a:rPr>
              <a:t>--SQL Server Concurrency</a:t>
            </a:r>
            <a:endParaRPr lang="en-US" sz="1600" dirty="0">
              <a:solidFill>
                <a:srgbClr val="000000"/>
              </a:solidFill>
              <a:latin typeface="Consolas" panose="020B0609020204030204" pitchFamily="49" charset="0"/>
            </a:endParaRPr>
          </a:p>
          <a:p>
            <a:r>
              <a:rPr lang="en-US" sz="1600" dirty="0">
                <a:solidFill>
                  <a:srgbClr val="008000"/>
                </a:solidFill>
                <a:latin typeface="Consolas" panose="020B0609020204030204" pitchFamily="49" charset="0"/>
              </a:rPr>
              <a:t>--Phantom Read - Session 2</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USE</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TestDB</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BEGIN</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DELET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ccounting</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BankAccounts</a:t>
            </a:r>
          </a:p>
          <a:p>
            <a:r>
              <a:rPr lang="en-US" sz="1600" dirty="0">
                <a:solidFill>
                  <a:srgbClr val="0000FF"/>
                </a:solidFill>
                <a:latin typeface="Consolas" panose="020B0609020204030204" pitchFamily="49" charset="0"/>
              </a:rPr>
              <a:t>WHERE</a:t>
            </a:r>
            <a:r>
              <a:rPr lang="en-US" sz="1600" dirty="0">
                <a:solidFill>
                  <a:srgbClr val="000000"/>
                </a:solidFill>
                <a:latin typeface="Consolas" panose="020B0609020204030204" pitchFamily="49" charset="0"/>
              </a:rPr>
              <a:t> AcctID </a:t>
            </a:r>
            <a:r>
              <a:rPr lang="en-US" sz="1600" dirty="0">
                <a:solidFill>
                  <a:srgbClr val="808080"/>
                </a:solidFill>
                <a:latin typeface="Consolas" panose="020B0609020204030204" pitchFamily="49" charset="0"/>
              </a:rPr>
              <a:t>IN(</a:t>
            </a:r>
            <a:r>
              <a:rPr lang="en-US" sz="1600" dirty="0">
                <a:solidFill>
                  <a:srgbClr val="000000"/>
                </a:solidFill>
                <a:latin typeface="Consolas" panose="020B0609020204030204" pitchFamily="49" charset="0"/>
              </a:rPr>
              <a:t>12</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15, 21</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COMMI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RAN</a:t>
            </a:r>
            <a:endParaRPr lang="en-US" sz="1600" dirty="0"/>
          </a:p>
        </p:txBody>
      </p:sp>
      <p:pic>
        <p:nvPicPr>
          <p:cNvPr id="13" name="Picture 12">
            <a:extLst>
              <a:ext uri="{FF2B5EF4-FFF2-40B4-BE49-F238E27FC236}">
                <a16:creationId xmlns:a16="http://schemas.microsoft.com/office/drawing/2014/main" id="{AFED9D64-380E-69F8-C124-53156D872A07}"/>
              </a:ext>
            </a:extLst>
          </p:cNvPr>
          <p:cNvPicPr>
            <a:picLocks noChangeAspect="1"/>
          </p:cNvPicPr>
          <p:nvPr/>
        </p:nvPicPr>
        <p:blipFill>
          <a:blip r:embed="rId2"/>
          <a:stretch>
            <a:fillRect/>
          </a:stretch>
        </p:blipFill>
        <p:spPr>
          <a:xfrm>
            <a:off x="6522732" y="788854"/>
            <a:ext cx="4804734" cy="2864935"/>
          </a:xfrm>
          <a:prstGeom prst="rect">
            <a:avLst/>
          </a:prstGeom>
          <a:ln>
            <a:noFill/>
          </a:ln>
          <a:effectLst>
            <a:outerShdw blurRad="190500" algn="tl" rotWithShape="0">
              <a:srgbClr val="000000">
                <a:alpha val="70000"/>
              </a:srgbClr>
            </a:outerShdw>
          </a:effectLst>
        </p:spPr>
      </p:pic>
      <p:pic>
        <p:nvPicPr>
          <p:cNvPr id="15" name="Picture 14">
            <a:extLst>
              <a:ext uri="{FF2B5EF4-FFF2-40B4-BE49-F238E27FC236}">
                <a16:creationId xmlns:a16="http://schemas.microsoft.com/office/drawing/2014/main" id="{29692639-A011-7669-8B0E-9EADCAE1D592}"/>
              </a:ext>
            </a:extLst>
          </p:cNvPr>
          <p:cNvPicPr>
            <a:picLocks noChangeAspect="1"/>
          </p:cNvPicPr>
          <p:nvPr/>
        </p:nvPicPr>
        <p:blipFill>
          <a:blip r:embed="rId3"/>
          <a:stretch>
            <a:fillRect/>
          </a:stretch>
        </p:blipFill>
        <p:spPr>
          <a:xfrm>
            <a:off x="6522730" y="4105597"/>
            <a:ext cx="4804735" cy="23099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089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alancing Isolation with concurrency</a:t>
            </a:r>
          </a:p>
        </p:txBody>
      </p:sp>
      <p:grpSp>
        <p:nvGrpSpPr>
          <p:cNvPr id="5" name="Group 4">
            <a:extLst>
              <a:ext uri="{FF2B5EF4-FFF2-40B4-BE49-F238E27FC236}">
                <a16:creationId xmlns:a16="http://schemas.microsoft.com/office/drawing/2014/main" id="{9EF208E9-20C8-46B3-B1F4-949B6BA0BF62}"/>
              </a:ext>
            </a:extLst>
          </p:cNvPr>
          <p:cNvGrpSpPr/>
          <p:nvPr/>
        </p:nvGrpSpPr>
        <p:grpSpPr>
          <a:xfrm>
            <a:off x="770709" y="1567544"/>
            <a:ext cx="9714983" cy="4504074"/>
            <a:chOff x="470521" y="2176074"/>
            <a:chExt cx="9495092" cy="4173113"/>
          </a:xfrm>
        </p:grpSpPr>
        <p:cxnSp>
          <p:nvCxnSpPr>
            <p:cNvPr id="17" name="Straight Connector 16">
              <a:extLst>
                <a:ext uri="{FF2B5EF4-FFF2-40B4-BE49-F238E27FC236}">
                  <a16:creationId xmlns:a16="http://schemas.microsoft.com/office/drawing/2014/main" id="{2828C548-2090-44B2-933F-D5BBADF7603F}"/>
                </a:ext>
              </a:extLst>
            </p:cNvPr>
            <p:cNvCxnSpPr/>
            <p:nvPr/>
          </p:nvCxnSpPr>
          <p:spPr>
            <a:xfrm>
              <a:off x="2152548" y="2452809"/>
              <a:ext cx="6663835" cy="3104168"/>
            </a:xfrm>
            <a:prstGeom prst="line">
              <a:avLst/>
            </a:prstGeom>
            <a:ln w="19050">
              <a:solidFill>
                <a:schemeClr val="tx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584365D4-C6C1-4E06-9444-A190B64CD1E3}"/>
                </a:ext>
              </a:extLst>
            </p:cNvPr>
            <p:cNvSpPr/>
            <p:nvPr/>
          </p:nvSpPr>
          <p:spPr>
            <a:xfrm>
              <a:off x="4897049" y="3805699"/>
              <a:ext cx="2409225" cy="1080951"/>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7" name="TextBox 6">
              <a:extLst>
                <a:ext uri="{FF2B5EF4-FFF2-40B4-BE49-F238E27FC236}">
                  <a16:creationId xmlns:a16="http://schemas.microsoft.com/office/drawing/2014/main" id="{02C0ED62-50C8-4D71-A559-C515A5B4FFD3}"/>
                </a:ext>
              </a:extLst>
            </p:cNvPr>
            <p:cNvSpPr txBox="1"/>
            <p:nvPr/>
          </p:nvSpPr>
          <p:spPr>
            <a:xfrm>
              <a:off x="470521" y="3804769"/>
              <a:ext cx="1579845" cy="478376"/>
            </a:xfrm>
            <a:prstGeom prst="rect">
              <a:avLst/>
            </a:prstGeom>
            <a:noFill/>
          </p:spPr>
          <p:txBody>
            <a:bodyPr wrap="square" rtlCol="0">
              <a:spAutoFit/>
            </a:bodyPr>
            <a:lstStyle/>
            <a:p>
              <a:pPr algn="ctr"/>
              <a:r>
                <a:rPr lang="en-US" sz="2448" i="1" dirty="0">
                  <a:solidFill>
                    <a:schemeClr val="accent1"/>
                  </a:solidFill>
                  <a:effectLst>
                    <a:outerShdw blurRad="38100" dist="38100" dir="2700000" algn="tl">
                      <a:srgbClr val="000000">
                        <a:alpha val="43137"/>
                      </a:srgbClr>
                    </a:outerShdw>
                  </a:effectLst>
                </a:rPr>
                <a:t>Isolation</a:t>
              </a:r>
            </a:p>
          </p:txBody>
        </p:sp>
        <p:sp>
          <p:nvSpPr>
            <p:cNvPr id="8" name="TextBox 7">
              <a:extLst>
                <a:ext uri="{FF2B5EF4-FFF2-40B4-BE49-F238E27FC236}">
                  <a16:creationId xmlns:a16="http://schemas.microsoft.com/office/drawing/2014/main" id="{1C1DADE0-52C5-4754-9BFC-EDE5A0B3A241}"/>
                </a:ext>
              </a:extLst>
            </p:cNvPr>
            <p:cNvSpPr txBox="1"/>
            <p:nvPr/>
          </p:nvSpPr>
          <p:spPr>
            <a:xfrm>
              <a:off x="4873712" y="5870811"/>
              <a:ext cx="1916905" cy="478376"/>
            </a:xfrm>
            <a:prstGeom prst="rect">
              <a:avLst/>
            </a:prstGeom>
            <a:noFill/>
          </p:spPr>
          <p:txBody>
            <a:bodyPr wrap="none" rtlCol="0">
              <a:spAutoFit/>
            </a:bodyPr>
            <a:lstStyle/>
            <a:p>
              <a:r>
                <a:rPr lang="en-US" sz="2448" i="1" dirty="0">
                  <a:solidFill>
                    <a:schemeClr val="accent1"/>
                  </a:solidFill>
                  <a:effectLst>
                    <a:outerShdw blurRad="38100" dist="38100" dir="2700000" algn="tl">
                      <a:srgbClr val="000000">
                        <a:alpha val="43137"/>
                      </a:srgbClr>
                    </a:outerShdw>
                  </a:effectLst>
                </a:rPr>
                <a:t>Concurrency</a:t>
              </a:r>
            </a:p>
          </p:txBody>
        </p:sp>
        <p:sp>
          <p:nvSpPr>
            <p:cNvPr id="9" name="TextBox 8">
              <a:extLst>
                <a:ext uri="{FF2B5EF4-FFF2-40B4-BE49-F238E27FC236}">
                  <a16:creationId xmlns:a16="http://schemas.microsoft.com/office/drawing/2014/main" id="{4E4DAE6A-DDA1-490C-B871-D5C0042543FA}"/>
                </a:ext>
              </a:extLst>
            </p:cNvPr>
            <p:cNvSpPr txBox="1"/>
            <p:nvPr/>
          </p:nvSpPr>
          <p:spPr>
            <a:xfrm>
              <a:off x="7457099" y="5876564"/>
              <a:ext cx="2226998" cy="370710"/>
            </a:xfrm>
            <a:prstGeom prst="rect">
              <a:avLst/>
            </a:prstGeom>
            <a:noFill/>
          </p:spPr>
          <p:txBody>
            <a:bodyPr wrap="none" rtlCol="0">
              <a:spAutoFit/>
            </a:bodyPr>
            <a:lstStyle/>
            <a:p>
              <a:r>
                <a:rPr lang="en-US" sz="2000" i="1" dirty="0">
                  <a:solidFill>
                    <a:schemeClr val="dk1"/>
                  </a:solidFill>
                  <a:latin typeface="Segoe UI" panose="020B0502040204020203" pitchFamily="34" charset="0"/>
                </a:rPr>
                <a:t>Shared data access</a:t>
              </a:r>
            </a:p>
          </p:txBody>
        </p:sp>
        <p:sp>
          <p:nvSpPr>
            <p:cNvPr id="10" name="TextBox 9">
              <a:extLst>
                <a:ext uri="{FF2B5EF4-FFF2-40B4-BE49-F238E27FC236}">
                  <a16:creationId xmlns:a16="http://schemas.microsoft.com/office/drawing/2014/main" id="{6D2EDFE3-BB7B-4E5F-88E0-6F8FFE4F7BE1}"/>
                </a:ext>
              </a:extLst>
            </p:cNvPr>
            <p:cNvSpPr txBox="1"/>
            <p:nvPr/>
          </p:nvSpPr>
          <p:spPr>
            <a:xfrm>
              <a:off x="1971926" y="5870809"/>
              <a:ext cx="2698248" cy="370710"/>
            </a:xfrm>
            <a:prstGeom prst="rect">
              <a:avLst/>
            </a:prstGeom>
            <a:noFill/>
          </p:spPr>
          <p:txBody>
            <a:bodyPr wrap="square" rtlCol="0">
              <a:spAutoFit/>
            </a:bodyPr>
            <a:lstStyle/>
            <a:p>
              <a:r>
                <a:rPr lang="en-US" sz="2000" i="1" dirty="0">
                  <a:solidFill>
                    <a:schemeClr val="dk1"/>
                  </a:solidFill>
                  <a:latin typeface="Segoe UI" panose="020B0502040204020203" pitchFamily="34" charset="0"/>
                </a:rPr>
                <a:t>Exclusive data access</a:t>
              </a:r>
            </a:p>
          </p:txBody>
        </p:sp>
        <p:sp>
          <p:nvSpPr>
            <p:cNvPr id="11" name="TextBox 10">
              <a:extLst>
                <a:ext uri="{FF2B5EF4-FFF2-40B4-BE49-F238E27FC236}">
                  <a16:creationId xmlns:a16="http://schemas.microsoft.com/office/drawing/2014/main" id="{50DA2926-D929-4CB4-9629-6CF9E1C3670D}"/>
                </a:ext>
              </a:extLst>
            </p:cNvPr>
            <p:cNvSpPr txBox="1"/>
            <p:nvPr/>
          </p:nvSpPr>
          <p:spPr>
            <a:xfrm>
              <a:off x="5141632" y="4289806"/>
              <a:ext cx="2243823" cy="350330"/>
            </a:xfrm>
            <a:prstGeom prst="rect">
              <a:avLst/>
            </a:prstGeom>
            <a:noFill/>
          </p:spPr>
          <p:txBody>
            <a:bodyPr wrap="none" rtlCol="0">
              <a:spAutoFit/>
            </a:bodyPr>
            <a:lstStyle/>
            <a:p>
              <a:r>
                <a:rPr lang="en-US" sz="1632" i="1" dirty="0">
                  <a:solidFill>
                    <a:schemeClr val="accent5"/>
                  </a:solidFill>
                </a:rPr>
                <a:t>Non-repeatable Reads</a:t>
              </a:r>
            </a:p>
          </p:txBody>
        </p:sp>
        <p:sp>
          <p:nvSpPr>
            <p:cNvPr id="12" name="TextBox 11">
              <a:extLst>
                <a:ext uri="{FF2B5EF4-FFF2-40B4-BE49-F238E27FC236}">
                  <a16:creationId xmlns:a16="http://schemas.microsoft.com/office/drawing/2014/main" id="{EC097085-5D53-4988-A8EB-A296FFDDC213}"/>
                </a:ext>
              </a:extLst>
            </p:cNvPr>
            <p:cNvSpPr txBox="1"/>
            <p:nvPr/>
          </p:nvSpPr>
          <p:spPr>
            <a:xfrm>
              <a:off x="6884925" y="2297470"/>
              <a:ext cx="3080688" cy="958583"/>
            </a:xfrm>
            <a:prstGeom prst="rect">
              <a:avLst/>
            </a:prstGeom>
            <a:noFill/>
          </p:spPr>
          <p:txBody>
            <a:bodyPr wrap="square" rtlCol="0">
              <a:spAutoFit/>
            </a:bodyPr>
            <a:lstStyle/>
            <a:p>
              <a:pPr algn="ctr"/>
              <a:r>
                <a:rPr lang="en-US" sz="1836" dirty="0">
                  <a:solidFill>
                    <a:srgbClr val="0078D4"/>
                  </a:solidFill>
                </a:rPr>
                <a:t>Transaction Isolation Level determines duration and range of read locks.</a:t>
              </a:r>
            </a:p>
          </p:txBody>
        </p:sp>
        <p:sp>
          <p:nvSpPr>
            <p:cNvPr id="13" name="TextBox 12">
              <a:extLst>
                <a:ext uri="{FF2B5EF4-FFF2-40B4-BE49-F238E27FC236}">
                  <a16:creationId xmlns:a16="http://schemas.microsoft.com/office/drawing/2014/main" id="{81F6A2D0-F5C4-41C8-976F-82B6CA32BB41}"/>
                </a:ext>
              </a:extLst>
            </p:cNvPr>
            <p:cNvSpPr txBox="1"/>
            <p:nvPr/>
          </p:nvSpPr>
          <p:spPr>
            <a:xfrm>
              <a:off x="7579716" y="5129102"/>
              <a:ext cx="1246721" cy="350330"/>
            </a:xfrm>
            <a:prstGeom prst="rect">
              <a:avLst/>
            </a:prstGeom>
            <a:noFill/>
          </p:spPr>
          <p:txBody>
            <a:bodyPr wrap="none" rtlCol="0">
              <a:spAutoFit/>
            </a:bodyPr>
            <a:lstStyle/>
            <a:p>
              <a:r>
                <a:rPr lang="en-US" sz="1632" i="1" dirty="0">
                  <a:solidFill>
                    <a:schemeClr val="accent5"/>
                  </a:solidFill>
                </a:rPr>
                <a:t>Dirty Reads</a:t>
              </a:r>
            </a:p>
          </p:txBody>
        </p:sp>
        <p:sp>
          <p:nvSpPr>
            <p:cNvPr id="14" name="TextBox 13">
              <a:extLst>
                <a:ext uri="{FF2B5EF4-FFF2-40B4-BE49-F238E27FC236}">
                  <a16:creationId xmlns:a16="http://schemas.microsoft.com/office/drawing/2014/main" id="{34B45408-397B-42B2-A5B0-6F93CD9EA31C}"/>
                </a:ext>
              </a:extLst>
            </p:cNvPr>
            <p:cNvSpPr txBox="1"/>
            <p:nvPr/>
          </p:nvSpPr>
          <p:spPr>
            <a:xfrm>
              <a:off x="3635459" y="3459336"/>
              <a:ext cx="1631775" cy="350330"/>
            </a:xfrm>
            <a:prstGeom prst="rect">
              <a:avLst/>
            </a:prstGeom>
            <a:noFill/>
          </p:spPr>
          <p:txBody>
            <a:bodyPr wrap="none" rtlCol="0">
              <a:spAutoFit/>
            </a:bodyPr>
            <a:lstStyle/>
            <a:p>
              <a:r>
                <a:rPr lang="en-US" sz="1632" i="1" dirty="0">
                  <a:solidFill>
                    <a:schemeClr val="accent5"/>
                  </a:solidFill>
                </a:rPr>
                <a:t>Phantom Reads</a:t>
              </a:r>
            </a:p>
          </p:txBody>
        </p:sp>
        <p:cxnSp>
          <p:nvCxnSpPr>
            <p:cNvPr id="15" name="Straight Arrow Connector 14">
              <a:extLst>
                <a:ext uri="{FF2B5EF4-FFF2-40B4-BE49-F238E27FC236}">
                  <a16:creationId xmlns:a16="http://schemas.microsoft.com/office/drawing/2014/main" id="{5959713D-8FF2-4139-A097-EAEFCD8F1740}"/>
                </a:ext>
              </a:extLst>
            </p:cNvPr>
            <p:cNvCxnSpPr/>
            <p:nvPr/>
          </p:nvCxnSpPr>
          <p:spPr>
            <a:xfrm flipV="1">
              <a:off x="1971927" y="2176074"/>
              <a:ext cx="26284" cy="36634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523857D-27E5-44E8-8508-66A67700BF89}"/>
                </a:ext>
              </a:extLst>
            </p:cNvPr>
            <p:cNvCxnSpPr/>
            <p:nvPr/>
          </p:nvCxnSpPr>
          <p:spPr>
            <a:xfrm>
              <a:off x="1971927" y="5839490"/>
              <a:ext cx="75385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E704C5D-2E6E-4D42-9555-1811A4989E2C}"/>
                </a:ext>
              </a:extLst>
            </p:cNvPr>
            <p:cNvSpPr txBox="1"/>
            <p:nvPr/>
          </p:nvSpPr>
          <p:spPr>
            <a:xfrm>
              <a:off x="7098485" y="4885580"/>
              <a:ext cx="2175157" cy="382308"/>
            </a:xfrm>
            <a:prstGeom prst="rect">
              <a:avLst/>
            </a:prstGeom>
            <a:noFill/>
          </p:spPr>
          <p:txBody>
            <a:bodyPr wrap="none" rtlCol="0">
              <a:spAutoFit/>
            </a:bodyPr>
            <a:lstStyle/>
            <a:p>
              <a:r>
                <a:rPr lang="en-US" sz="1836" i="1" dirty="0"/>
                <a:t>Read Uncommitted</a:t>
              </a:r>
            </a:p>
          </p:txBody>
        </p:sp>
        <p:sp>
          <p:nvSpPr>
            <p:cNvPr id="19" name="TextBox 18">
              <a:extLst>
                <a:ext uri="{FF2B5EF4-FFF2-40B4-BE49-F238E27FC236}">
                  <a16:creationId xmlns:a16="http://schemas.microsoft.com/office/drawing/2014/main" id="{D8343E61-5230-4B10-ACE6-0B8B56AEEAB6}"/>
                </a:ext>
              </a:extLst>
            </p:cNvPr>
            <p:cNvSpPr txBox="1"/>
            <p:nvPr/>
          </p:nvSpPr>
          <p:spPr>
            <a:xfrm>
              <a:off x="5243815" y="4039325"/>
              <a:ext cx="1923118" cy="382308"/>
            </a:xfrm>
            <a:prstGeom prst="rect">
              <a:avLst/>
            </a:prstGeom>
            <a:noFill/>
          </p:spPr>
          <p:txBody>
            <a:bodyPr wrap="none" rtlCol="0">
              <a:spAutoFit/>
            </a:bodyPr>
            <a:lstStyle/>
            <a:p>
              <a:r>
                <a:rPr lang="en-US" sz="1836" i="1" dirty="0"/>
                <a:t>Read Committed</a:t>
              </a:r>
            </a:p>
          </p:txBody>
        </p:sp>
        <p:sp>
          <p:nvSpPr>
            <p:cNvPr id="20" name="TextBox 19">
              <a:extLst>
                <a:ext uri="{FF2B5EF4-FFF2-40B4-BE49-F238E27FC236}">
                  <a16:creationId xmlns:a16="http://schemas.microsoft.com/office/drawing/2014/main" id="{D6B67B72-1FD4-4CC2-A74A-DE038DEADAAA}"/>
                </a:ext>
              </a:extLst>
            </p:cNvPr>
            <p:cNvSpPr txBox="1"/>
            <p:nvPr/>
          </p:nvSpPr>
          <p:spPr>
            <a:xfrm>
              <a:off x="3497309" y="3210826"/>
              <a:ext cx="1913178" cy="382308"/>
            </a:xfrm>
            <a:prstGeom prst="rect">
              <a:avLst/>
            </a:prstGeom>
            <a:noFill/>
          </p:spPr>
          <p:txBody>
            <a:bodyPr wrap="none" rtlCol="0">
              <a:spAutoFit/>
            </a:bodyPr>
            <a:lstStyle/>
            <a:p>
              <a:r>
                <a:rPr lang="en-US" sz="1836" i="1" dirty="0"/>
                <a:t>Repeatable Read</a:t>
              </a:r>
            </a:p>
          </p:txBody>
        </p:sp>
        <p:sp>
          <p:nvSpPr>
            <p:cNvPr id="21" name="TextBox 20">
              <a:extLst>
                <a:ext uri="{FF2B5EF4-FFF2-40B4-BE49-F238E27FC236}">
                  <a16:creationId xmlns:a16="http://schemas.microsoft.com/office/drawing/2014/main" id="{AB360DEA-0229-4C7B-A22B-69E31BE3AB0F}"/>
                </a:ext>
              </a:extLst>
            </p:cNvPr>
            <p:cNvSpPr txBox="1"/>
            <p:nvPr/>
          </p:nvSpPr>
          <p:spPr>
            <a:xfrm>
              <a:off x="2411000" y="2595115"/>
              <a:ext cx="1377187" cy="382308"/>
            </a:xfrm>
            <a:prstGeom prst="rect">
              <a:avLst/>
            </a:prstGeom>
            <a:noFill/>
          </p:spPr>
          <p:txBody>
            <a:bodyPr wrap="none" rtlCol="0">
              <a:spAutoFit/>
            </a:bodyPr>
            <a:lstStyle/>
            <a:p>
              <a:r>
                <a:rPr lang="en-US" sz="1836" i="1" dirty="0"/>
                <a:t>Serializable</a:t>
              </a:r>
            </a:p>
          </p:txBody>
        </p:sp>
        <p:sp>
          <p:nvSpPr>
            <p:cNvPr id="22" name="TextBox 21">
              <a:extLst>
                <a:ext uri="{FF2B5EF4-FFF2-40B4-BE49-F238E27FC236}">
                  <a16:creationId xmlns:a16="http://schemas.microsoft.com/office/drawing/2014/main" id="{35ECEEC4-B838-4C1C-B408-32ABDE70C79F}"/>
                </a:ext>
              </a:extLst>
            </p:cNvPr>
            <p:cNvSpPr txBox="1"/>
            <p:nvPr/>
          </p:nvSpPr>
          <p:spPr>
            <a:xfrm>
              <a:off x="2750244" y="2827986"/>
              <a:ext cx="686991" cy="350330"/>
            </a:xfrm>
            <a:prstGeom prst="rect">
              <a:avLst/>
            </a:prstGeom>
            <a:noFill/>
          </p:spPr>
          <p:txBody>
            <a:bodyPr wrap="none" rtlCol="0">
              <a:spAutoFit/>
            </a:bodyPr>
            <a:lstStyle/>
            <a:p>
              <a:r>
                <a:rPr lang="en-US" sz="1632" i="1" dirty="0">
                  <a:solidFill>
                    <a:schemeClr val="accent5"/>
                  </a:solidFill>
                </a:rPr>
                <a:t>None</a:t>
              </a:r>
            </a:p>
          </p:txBody>
        </p:sp>
        <p:sp>
          <p:nvSpPr>
            <p:cNvPr id="23" name="TextBox 22">
              <a:extLst>
                <a:ext uri="{FF2B5EF4-FFF2-40B4-BE49-F238E27FC236}">
                  <a16:creationId xmlns:a16="http://schemas.microsoft.com/office/drawing/2014/main" id="{31B6B0D1-37BF-4A6C-B194-8DBE466603C6}"/>
                </a:ext>
              </a:extLst>
            </p:cNvPr>
            <p:cNvSpPr txBox="1"/>
            <p:nvPr/>
          </p:nvSpPr>
          <p:spPr>
            <a:xfrm rot="10800000" flipV="1">
              <a:off x="898127" y="5114275"/>
              <a:ext cx="810333" cy="370710"/>
            </a:xfrm>
            <a:prstGeom prst="rect">
              <a:avLst/>
            </a:prstGeom>
            <a:noFill/>
          </p:spPr>
          <p:txBody>
            <a:bodyPr wrap="square" rtlCol="0">
              <a:spAutoFit/>
            </a:bodyPr>
            <a:lstStyle/>
            <a:p>
              <a:pPr algn="ctr"/>
              <a:r>
                <a:rPr lang="en-US" sz="2000" i="1" dirty="0">
                  <a:solidFill>
                    <a:schemeClr val="dk1"/>
                  </a:solidFill>
                  <a:latin typeface="Segoe UI" panose="020B0502040204020203" pitchFamily="34" charset="0"/>
                </a:rPr>
                <a:t>None</a:t>
              </a:r>
            </a:p>
          </p:txBody>
        </p:sp>
        <p:sp>
          <p:nvSpPr>
            <p:cNvPr id="24" name="TextBox 23">
              <a:extLst>
                <a:ext uri="{FF2B5EF4-FFF2-40B4-BE49-F238E27FC236}">
                  <a16:creationId xmlns:a16="http://schemas.microsoft.com/office/drawing/2014/main" id="{58928B33-014D-42D3-8A69-BE7934122CBC}"/>
                </a:ext>
              </a:extLst>
            </p:cNvPr>
            <p:cNvSpPr txBox="1"/>
            <p:nvPr/>
          </p:nvSpPr>
          <p:spPr>
            <a:xfrm>
              <a:off x="907902" y="2633609"/>
              <a:ext cx="705087" cy="370710"/>
            </a:xfrm>
            <a:prstGeom prst="rect">
              <a:avLst/>
            </a:prstGeom>
            <a:noFill/>
          </p:spPr>
          <p:txBody>
            <a:bodyPr wrap="none" rtlCol="0">
              <a:spAutoFit/>
            </a:bodyPr>
            <a:lstStyle/>
            <a:p>
              <a:pPr algn="ctr"/>
              <a:r>
                <a:rPr lang="en-US" sz="2000" i="1" dirty="0">
                  <a:solidFill>
                    <a:schemeClr val="dk1"/>
                  </a:solidFill>
                  <a:latin typeface="Segoe UI" panose="020B0502040204020203" pitchFamily="34" charset="0"/>
                </a:rPr>
                <a:t>Total</a:t>
              </a:r>
            </a:p>
          </p:txBody>
        </p:sp>
      </p:grpSp>
    </p:spTree>
    <p:extLst>
      <p:ext uri="{BB962C8B-B14F-4D97-AF65-F5344CB8AC3E}">
        <p14:creationId xmlns:p14="http://schemas.microsoft.com/office/powerpoint/2010/main" val="4221783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ncurrency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Avoids inconsistency result or abnormal behavior</a:t>
            </a:r>
          </a:p>
          <a:p>
            <a:endParaRPr lang="en-US" dirty="0"/>
          </a:p>
        </p:txBody>
      </p:sp>
      <p:graphicFrame>
        <p:nvGraphicFramePr>
          <p:cNvPr id="6" name="Content Placeholder 5">
            <a:extLst>
              <a:ext uri="{FF2B5EF4-FFF2-40B4-BE49-F238E27FC236}">
                <a16:creationId xmlns:a16="http://schemas.microsoft.com/office/drawing/2014/main" id="{F7F91E82-7A30-446A-9AA4-56B6B8FA1E48}"/>
              </a:ext>
            </a:extLst>
          </p:cNvPr>
          <p:cNvGraphicFramePr>
            <a:graphicFrameLocks noGrp="1"/>
          </p:cNvGraphicFramePr>
          <p:nvPr>
            <p:ph sz="quarter" idx="13"/>
            <p:extLst>
              <p:ext uri="{D42A27DB-BD31-4B8C-83A1-F6EECF244321}">
                <p14:modId xmlns:p14="http://schemas.microsoft.com/office/powerpoint/2010/main" val="3569644191"/>
              </p:ext>
            </p:extLst>
          </p:nvPr>
        </p:nvGraphicFramePr>
        <p:xfrm>
          <a:off x="655638" y="1408114"/>
          <a:ext cx="10880726" cy="4322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5365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napshot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First Introduced in SQL Server 2005.</a:t>
            </a:r>
          </a:p>
          <a:p>
            <a:r>
              <a:rPr lang="en-US" dirty="0"/>
              <a:t>Uses Optimistic concurrency.</a:t>
            </a:r>
          </a:p>
          <a:p>
            <a:r>
              <a:rPr lang="en-US" dirty="0"/>
              <a:t>Managed using Row Versioning.</a:t>
            </a:r>
          </a:p>
          <a:p>
            <a:r>
              <a:rPr lang="en-US" dirty="0"/>
              <a:t>If ADR is not enabled, row versions are kept in tempdb.  </a:t>
            </a:r>
          </a:p>
        </p:txBody>
      </p:sp>
      <p:graphicFrame>
        <p:nvGraphicFramePr>
          <p:cNvPr id="5" name="Table 5">
            <a:extLst>
              <a:ext uri="{FF2B5EF4-FFF2-40B4-BE49-F238E27FC236}">
                <a16:creationId xmlns:a16="http://schemas.microsoft.com/office/drawing/2014/main" id="{9DA613A8-7843-4DC6-B449-9A9544E5201B}"/>
              </a:ext>
            </a:extLst>
          </p:cNvPr>
          <p:cNvGraphicFramePr>
            <a:graphicFrameLocks noGrp="1"/>
          </p:cNvGraphicFramePr>
          <p:nvPr>
            <p:extLst>
              <p:ext uri="{D42A27DB-BD31-4B8C-83A1-F6EECF244321}">
                <p14:modId xmlns:p14="http://schemas.microsoft.com/office/powerpoint/2010/main" val="3388277065"/>
              </p:ext>
            </p:extLst>
          </p:nvPr>
        </p:nvGraphicFramePr>
        <p:xfrm>
          <a:off x="876299" y="3308097"/>
          <a:ext cx="10439400" cy="2489200"/>
        </p:xfrm>
        <a:graphic>
          <a:graphicData uri="http://schemas.openxmlformats.org/drawingml/2006/table">
            <a:tbl>
              <a:tblPr firstRow="1" bandRow="1">
                <a:tableStyleId>{9DCAF9ED-07DC-4A11-8D7F-57B35C25682E}</a:tableStyleId>
              </a:tblPr>
              <a:tblGrid>
                <a:gridCol w="5334000">
                  <a:extLst>
                    <a:ext uri="{9D8B030D-6E8A-4147-A177-3AD203B41FA5}">
                      <a16:colId xmlns:a16="http://schemas.microsoft.com/office/drawing/2014/main" val="877317678"/>
                    </a:ext>
                  </a:extLst>
                </a:gridCol>
                <a:gridCol w="5105400">
                  <a:extLst>
                    <a:ext uri="{9D8B030D-6E8A-4147-A177-3AD203B41FA5}">
                      <a16:colId xmlns:a16="http://schemas.microsoft.com/office/drawing/2014/main" val="2385339235"/>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Read Committed Snapshot Isolation (RCSI)</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napshot Isolation</a:t>
                      </a:r>
                    </a:p>
                  </a:txBody>
                  <a:tcPr/>
                </a:tc>
                <a:extLst>
                  <a:ext uri="{0D108BD9-81ED-4DB2-BD59-A6C34878D82A}">
                    <a16:rowId xmlns:a16="http://schemas.microsoft.com/office/drawing/2014/main" val="2835843747"/>
                  </a:ext>
                </a:extLst>
              </a:tr>
              <a:tr h="370840">
                <a:tc>
                  <a:txBody>
                    <a:bodyPr/>
                    <a:lstStyle/>
                    <a:p>
                      <a:r>
                        <a:rPr lang="en-US" dirty="0"/>
                        <a:t>Can be used with Distributed Trans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n’t be used with Distributed Transaction</a:t>
                      </a:r>
                    </a:p>
                  </a:txBody>
                  <a:tcPr/>
                </a:tc>
                <a:extLst>
                  <a:ext uri="{0D108BD9-81ED-4DB2-BD59-A6C34878D82A}">
                    <a16:rowId xmlns:a16="http://schemas.microsoft.com/office/drawing/2014/main" val="3273416727"/>
                  </a:ext>
                </a:extLst>
              </a:tr>
              <a:tr h="370840">
                <a:tc>
                  <a:txBody>
                    <a:bodyPr/>
                    <a:lstStyle/>
                    <a:p>
                      <a:r>
                        <a:rPr lang="en-US" dirty="0"/>
                        <a:t>No code changes required to manage conflic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de changes required to manage conflicts</a:t>
                      </a:r>
                    </a:p>
                  </a:txBody>
                  <a:tcPr/>
                </a:tc>
                <a:extLst>
                  <a:ext uri="{0D108BD9-81ED-4DB2-BD59-A6C34878D82A}">
                    <a16:rowId xmlns:a16="http://schemas.microsoft.com/office/drawing/2014/main" val="1264401534"/>
                  </a:ext>
                </a:extLst>
              </a:tr>
              <a:tr h="370840">
                <a:tc>
                  <a:txBody>
                    <a:bodyPr/>
                    <a:lstStyle/>
                    <a:p>
                      <a:r>
                        <a:rPr lang="en-US" dirty="0"/>
                        <a:t>Statement Level Consistency</a:t>
                      </a:r>
                    </a:p>
                  </a:txBody>
                  <a:tcPr/>
                </a:tc>
                <a:tc>
                  <a:txBody>
                    <a:bodyPr/>
                    <a:lstStyle/>
                    <a:p>
                      <a:r>
                        <a:rPr lang="en-US" dirty="0"/>
                        <a:t>Transaction-level consistency</a:t>
                      </a:r>
                    </a:p>
                  </a:txBody>
                  <a:tcPr/>
                </a:tc>
                <a:extLst>
                  <a:ext uri="{0D108BD9-81ED-4DB2-BD59-A6C34878D82A}">
                    <a16:rowId xmlns:a16="http://schemas.microsoft.com/office/drawing/2014/main" val="30003983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riters still block other writers</a:t>
                      </a:r>
                    </a:p>
                  </a:txBody>
                  <a:tcPr/>
                </a:tc>
                <a:tc>
                  <a:txBody>
                    <a:bodyPr/>
                    <a:lstStyle/>
                    <a:p>
                      <a:r>
                        <a:rPr lang="en-US" dirty="0"/>
                        <a:t>Writers don’t block writers, only the first to commit wins, others must rollback/retry</a:t>
                      </a:r>
                    </a:p>
                  </a:txBody>
                  <a:tcPr/>
                </a:tc>
                <a:extLst>
                  <a:ext uri="{0D108BD9-81ED-4DB2-BD59-A6C34878D82A}">
                    <a16:rowId xmlns:a16="http://schemas.microsoft.com/office/drawing/2014/main" val="2433095227"/>
                  </a:ext>
                </a:extLst>
              </a:tr>
              <a:tr h="370840">
                <a:tc>
                  <a:txBody>
                    <a:bodyPr/>
                    <a:lstStyle/>
                    <a:p>
                      <a:r>
                        <a:rPr lang="en-US" dirty="0"/>
                        <a:t>No update conflict</a:t>
                      </a:r>
                    </a:p>
                  </a:txBody>
                  <a:tcPr/>
                </a:tc>
                <a:tc>
                  <a:txBody>
                    <a:bodyPr/>
                    <a:lstStyle/>
                    <a:p>
                      <a:r>
                        <a:rPr lang="en-US" dirty="0"/>
                        <a:t>Prone to update conflict</a:t>
                      </a:r>
                    </a:p>
                  </a:txBody>
                  <a:tcPr/>
                </a:tc>
                <a:extLst>
                  <a:ext uri="{0D108BD9-81ED-4DB2-BD59-A6C34878D82A}">
                    <a16:rowId xmlns:a16="http://schemas.microsoft.com/office/drawing/2014/main" val="1160263765"/>
                  </a:ext>
                </a:extLst>
              </a:tr>
            </a:tbl>
          </a:graphicData>
        </a:graphic>
      </p:graphicFrame>
    </p:spTree>
    <p:extLst>
      <p:ext uri="{BB962C8B-B14F-4D97-AF65-F5344CB8AC3E}">
        <p14:creationId xmlns:p14="http://schemas.microsoft.com/office/powerpoint/2010/main" val="1719616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nabling row versioning-based iso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Read committed snapshot Isolation (RCSI)</a:t>
            </a:r>
          </a:p>
          <a:p>
            <a:pPr lvl="1"/>
            <a:r>
              <a:rPr lang="en-US" dirty="0">
                <a:solidFill>
                  <a:srgbClr val="0000FF"/>
                </a:solidFill>
              </a:rPr>
              <a:t>READ_COMMITTED_SNAPSHOT </a:t>
            </a:r>
            <a:r>
              <a:rPr lang="en-US" dirty="0"/>
              <a:t>database enabled plus READ Committed isolation level</a:t>
            </a:r>
          </a:p>
          <a:p>
            <a:pPr marL="310896" lvl="1" indent="0">
              <a:buNone/>
            </a:pPr>
            <a:r>
              <a:rPr lang="en-US" dirty="0">
                <a:solidFill>
                  <a:srgbClr val="0000FF"/>
                </a:solidFill>
              </a:rPr>
              <a:t>	</a:t>
            </a:r>
          </a:p>
          <a:p>
            <a:endParaRPr lang="en-US" dirty="0"/>
          </a:p>
          <a:p>
            <a:r>
              <a:rPr lang="en-US" dirty="0"/>
              <a:t>Snapshot Isolation</a:t>
            </a:r>
          </a:p>
          <a:p>
            <a:pPr lvl="1"/>
            <a:r>
              <a:rPr lang="en-US" dirty="0">
                <a:solidFill>
                  <a:srgbClr val="0000FF"/>
                </a:solidFill>
              </a:rPr>
              <a:t>ALLOW_SNAPSHOT_ISOLATION </a:t>
            </a:r>
            <a:r>
              <a:rPr lang="en-US" dirty="0"/>
              <a:t>database enabled plus SNAPSHOT isolation level</a:t>
            </a:r>
          </a:p>
          <a:p>
            <a:pPr lvl="1"/>
            <a:endParaRPr lang="en-US" dirty="0"/>
          </a:p>
          <a:p>
            <a:endParaRPr lang="en-US" dirty="0"/>
          </a:p>
          <a:p>
            <a:r>
              <a:rPr lang="en-US" dirty="0"/>
              <a:t>Prevents readers from blocking writers</a:t>
            </a:r>
          </a:p>
          <a:p>
            <a:r>
              <a:rPr lang="en-US" dirty="0"/>
              <a:t>Uses TempDB and avoids placing shared Locks</a:t>
            </a:r>
          </a:p>
          <a:p>
            <a:endParaRPr lang="en-US" dirty="0"/>
          </a:p>
        </p:txBody>
      </p:sp>
      <p:sp>
        <p:nvSpPr>
          <p:cNvPr id="5" name="Rectangle 4">
            <a:extLst>
              <a:ext uri="{FF2B5EF4-FFF2-40B4-BE49-F238E27FC236}">
                <a16:creationId xmlns:a16="http://schemas.microsoft.com/office/drawing/2014/main" id="{4831BAD6-CAE7-4221-8847-4304D1EBE9E6}"/>
              </a:ext>
            </a:extLst>
          </p:cNvPr>
          <p:cNvSpPr/>
          <p:nvPr/>
        </p:nvSpPr>
        <p:spPr>
          <a:xfrm>
            <a:off x="1371600" y="2362200"/>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READ_COMMITTED_SNAPSHOT ON</a:t>
            </a:r>
            <a:endParaRPr lang="en-US" sz="1800" dirty="0">
              <a:solidFill>
                <a:prstClr val="black"/>
              </a:solidFill>
              <a:latin typeface="Lucida Console" panose="020B0609040504020204" pitchFamily="49" charset="0"/>
            </a:endParaRPr>
          </a:p>
        </p:txBody>
      </p:sp>
      <p:sp>
        <p:nvSpPr>
          <p:cNvPr id="6" name="Rectangle 5">
            <a:extLst>
              <a:ext uri="{FF2B5EF4-FFF2-40B4-BE49-F238E27FC236}">
                <a16:creationId xmlns:a16="http://schemas.microsoft.com/office/drawing/2014/main" id="{7D7EC3E6-1573-4358-B3F6-0E5035F89CC0}"/>
              </a:ext>
            </a:extLst>
          </p:cNvPr>
          <p:cNvSpPr/>
          <p:nvPr/>
        </p:nvSpPr>
        <p:spPr>
          <a:xfrm>
            <a:off x="1371600" y="4021846"/>
            <a:ext cx="9753600" cy="461665"/>
          </a:xfrm>
          <a:prstGeom prst="rect">
            <a:avLst/>
          </a:prstGeom>
          <a:ln>
            <a:solidFill>
              <a:schemeClr val="accent1"/>
            </a:solidFill>
          </a:ln>
          <a:effectLst/>
        </p:spPr>
        <p:txBody>
          <a:bodyPr wrap="square">
            <a:noAutofit/>
          </a:bodyPr>
          <a:lstStyle/>
          <a:p>
            <a:r>
              <a:rPr lang="en-US" dirty="0">
                <a:solidFill>
                  <a:srgbClr val="0000FF"/>
                </a:solidFill>
              </a:rPr>
              <a:t>ALTER DATABASE </a:t>
            </a:r>
            <a:r>
              <a:rPr lang="en-US" dirty="0"/>
              <a:t>MyDatabase </a:t>
            </a:r>
            <a:r>
              <a:rPr lang="en-US" dirty="0">
                <a:solidFill>
                  <a:srgbClr val="0000FF"/>
                </a:solidFill>
              </a:rPr>
              <a:t>SET ALLOW_SNAPSHOT_ISOLATION ON</a:t>
            </a:r>
            <a:endParaRPr lang="en-US" sz="1800" dirty="0">
              <a:solidFill>
                <a:prstClr val="black"/>
              </a:solidFill>
              <a:latin typeface="Lucida Console" panose="020B0609040504020204" pitchFamily="49" charset="0"/>
            </a:endParaRPr>
          </a:p>
        </p:txBody>
      </p:sp>
    </p:spTree>
    <p:extLst>
      <p:ext uri="{BB962C8B-B14F-4D97-AF65-F5344CB8AC3E}">
        <p14:creationId xmlns:p14="http://schemas.microsoft.com/office/powerpoint/2010/main" val="13664874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br>
              <a:rPr lang="en-US" dirty="0"/>
            </a:br>
            <a:endParaRPr lang="en-US" dirty="0"/>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pPr lvl="1"/>
            <a:r>
              <a:rPr lang="en-US" sz="2400" b="1" dirty="0"/>
              <a:t>Key range locking</a:t>
            </a:r>
          </a:p>
          <a:p>
            <a:pPr lvl="1"/>
            <a:r>
              <a:rPr lang="en-US" sz="2400" dirty="0"/>
              <a:t>Using </a:t>
            </a:r>
            <a:r>
              <a:rPr lang="en-US" sz="2400" dirty="0">
                <a:solidFill>
                  <a:srgbClr val="00B050"/>
                </a:solidFill>
              </a:rPr>
              <a:t>sys.dm_tran_locks </a:t>
            </a:r>
            <a:r>
              <a:rPr lang="en-US" sz="2400" dirty="0"/>
              <a:t>to understand the impact of Locked resources and duration according to Isolation Level</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SQL Server Isolation Level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Illustrate how snapshot isolation level effect blocking and locking</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what is a transaction and </a:t>
            </a:r>
            <a:r>
              <a:rPr lang="en-US" dirty="0">
                <a:latin typeface="Segoe UI" panose="020B0502040204020203" pitchFamily="34" charset="0"/>
              </a:rPr>
              <a:t>its </a:t>
            </a:r>
            <a:r>
              <a:rPr lang="en-US" dirty="0"/>
              <a:t>types.</a:t>
            </a:r>
          </a:p>
          <a:p>
            <a:r>
              <a:rPr lang="en-US" dirty="0"/>
              <a:t>Recommendations for using transactions.</a:t>
            </a:r>
          </a:p>
          <a:p>
            <a:r>
              <a:rPr lang="en-US" dirty="0"/>
              <a:t>Monitor current transactions in SQL Server.</a:t>
            </a:r>
          </a:p>
          <a:p>
            <a:r>
              <a:rPr lang="en-US" dirty="0"/>
              <a:t>Describe the concurrency and concurrency types.</a:t>
            </a:r>
          </a:p>
          <a:p>
            <a:r>
              <a:rPr lang="en-US" dirty="0"/>
              <a:t>Blocking and Deadloc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89889767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2735236"/>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80828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SQL Server Locking</a:t>
            </a:r>
          </a:p>
        </p:txBody>
      </p:sp>
    </p:spTree>
    <p:extLst>
      <p:ext uri="{BB962C8B-B14F-4D97-AF65-F5344CB8AC3E}">
        <p14:creationId xmlns:p14="http://schemas.microsoft.com/office/powerpoint/2010/main" val="57495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locking concepts.</a:t>
            </a:r>
          </a:p>
          <a:p>
            <a:r>
              <a:rPr lang="en-US" dirty="0"/>
              <a:t>Understand lock Modes and lock compatibility.</a:t>
            </a:r>
          </a:p>
          <a:p>
            <a:r>
              <a:rPr lang="en-US" dirty="0"/>
              <a:t>How SQL server choose granularity.</a:t>
            </a:r>
          </a:p>
          <a:p>
            <a:r>
              <a:rPr lang="en-US" dirty="0"/>
              <a:t>Learn how SQL server escalate locks.</a:t>
            </a:r>
          </a:p>
          <a:p>
            <a:r>
              <a:rPr lang="en-US" dirty="0"/>
              <a:t>What are lock Hints ?</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521090" y="2071176"/>
            <a:ext cx="2895189" cy="30426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17" name="Bent Arrow 16"/>
          <p:cNvSpPr/>
          <p:nvPr/>
        </p:nvSpPr>
        <p:spPr>
          <a:xfrm rot="5400000">
            <a:off x="5329940" y="1817981"/>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black"/>
              </a:solidFill>
              <a:latin typeface="Segoe UI"/>
            </a:endParaRPr>
          </a:p>
        </p:txBody>
      </p:sp>
      <p:sp>
        <p:nvSpPr>
          <p:cNvPr id="18" name="Bent Arrow 17"/>
          <p:cNvSpPr/>
          <p:nvPr/>
        </p:nvSpPr>
        <p:spPr>
          <a:xfrm rot="16200000" flipV="1">
            <a:off x="5359356" y="4024714"/>
            <a:ext cx="1309631" cy="1294402"/>
          </a:xfrm>
          <a:prstGeom prst="ben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black"/>
              </a:solidFill>
              <a:latin typeface="Segoe UI"/>
            </a:endParaRPr>
          </a:p>
        </p:txBody>
      </p:sp>
      <p:grpSp>
        <p:nvGrpSpPr>
          <p:cNvPr id="24" name="Group 23">
            <a:extLst>
              <a:ext uri="{FF2B5EF4-FFF2-40B4-BE49-F238E27FC236}">
                <a16:creationId xmlns:a16="http://schemas.microsoft.com/office/drawing/2014/main" id="{99853E08-4BE7-4A37-A148-C69FB7376A49}"/>
              </a:ext>
            </a:extLst>
          </p:cNvPr>
          <p:cNvGrpSpPr/>
          <p:nvPr/>
        </p:nvGrpSpPr>
        <p:grpSpPr>
          <a:xfrm>
            <a:off x="8092509" y="2427939"/>
            <a:ext cx="1752352" cy="2071070"/>
            <a:chOff x="4963829" y="4298078"/>
            <a:chExt cx="1393773" cy="1547244"/>
          </a:xfrm>
        </p:grpSpPr>
        <p:sp>
          <p:nvSpPr>
            <p:cNvPr id="25" name="Cylinder 24">
              <a:extLst>
                <a:ext uri="{FF2B5EF4-FFF2-40B4-BE49-F238E27FC236}">
                  <a16:creationId xmlns:a16="http://schemas.microsoft.com/office/drawing/2014/main" id="{D5B8A228-D65E-4B26-B078-1270B40EE0E5}"/>
                </a:ext>
              </a:extLst>
            </p:cNvPr>
            <p:cNvSpPr/>
            <p:nvPr/>
          </p:nvSpPr>
          <p:spPr>
            <a:xfrm>
              <a:off x="4963829" y="5232674"/>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7" name="Cylinder 26">
              <a:extLst>
                <a:ext uri="{FF2B5EF4-FFF2-40B4-BE49-F238E27FC236}">
                  <a16:creationId xmlns:a16="http://schemas.microsoft.com/office/drawing/2014/main" id="{E375785A-A54E-4F9F-A641-A57C70D2AEE1}"/>
                </a:ext>
              </a:extLst>
            </p:cNvPr>
            <p:cNvSpPr/>
            <p:nvPr/>
          </p:nvSpPr>
          <p:spPr>
            <a:xfrm>
              <a:off x="4963830" y="4763793"/>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9" name="Cylinder 28">
              <a:extLst>
                <a:ext uri="{FF2B5EF4-FFF2-40B4-BE49-F238E27FC236}">
                  <a16:creationId xmlns:a16="http://schemas.microsoft.com/office/drawing/2014/main" id="{F0A0EFD7-7C31-449F-8B5D-8528DDC35C58}"/>
                </a:ext>
              </a:extLst>
            </p:cNvPr>
            <p:cNvSpPr/>
            <p:nvPr/>
          </p:nvSpPr>
          <p:spPr>
            <a:xfrm>
              <a:off x="4963831" y="4298078"/>
              <a:ext cx="1393771" cy="612648"/>
            </a:xfrm>
            <a:prstGeom prst="can">
              <a:avLst>
                <a:gd name="adj" fmla="val 30417"/>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grpSp>
      <p:sp>
        <p:nvSpPr>
          <p:cNvPr id="7" name="TextBox 6"/>
          <p:cNvSpPr txBox="1"/>
          <p:nvPr/>
        </p:nvSpPr>
        <p:spPr>
          <a:xfrm>
            <a:off x="8118445" y="4537433"/>
            <a:ext cx="1752352" cy="374793"/>
          </a:xfrm>
          <a:prstGeom prst="rect">
            <a:avLst/>
          </a:prstGeom>
          <a:noFill/>
        </p:spPr>
        <p:txBody>
          <a:bodyPr wrap="square" rtlCol="0">
            <a:spAutoFit/>
          </a:bodyPr>
          <a:lstStyle/>
          <a:p>
            <a:pPr defTabSz="914225"/>
            <a:r>
              <a:rPr lang="en-US" dirty="0">
                <a:solidFill>
                  <a:prstClr val="black"/>
                </a:solidFill>
                <a:latin typeface="Segoe UI"/>
              </a:rPr>
              <a:t>TSQL2012.mdf</a:t>
            </a:r>
          </a:p>
        </p:txBody>
      </p:sp>
      <p:sp>
        <p:nvSpPr>
          <p:cNvPr id="9" name="Rounded Rectangle 8"/>
          <p:cNvSpPr/>
          <p:nvPr/>
        </p:nvSpPr>
        <p:spPr>
          <a:xfrm>
            <a:off x="775897" y="1328382"/>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pic>
        <p:nvPicPr>
          <p:cNvPr id="11" name="Picture 10"/>
          <p:cNvPicPr>
            <a:picLocks noChangeAspect="1"/>
          </p:cNvPicPr>
          <p:nvPr/>
        </p:nvPicPr>
        <p:blipFill>
          <a:blip r:embed="rId2"/>
          <a:stretch>
            <a:fillRect/>
          </a:stretch>
        </p:blipFill>
        <p:spPr>
          <a:xfrm>
            <a:off x="6302358" y="3267169"/>
            <a:ext cx="5384525" cy="709900"/>
          </a:xfrm>
          <a:prstGeom prst="rect">
            <a:avLst/>
          </a:prstGeom>
        </p:spPr>
      </p:pic>
      <p:pic>
        <p:nvPicPr>
          <p:cNvPr id="8" name="Picture 6" descr="Security_Secured.png"/>
          <p:cNvPicPr>
            <a:picLocks noChangeAspect="1"/>
          </p:cNvPicPr>
          <p:nvPr/>
        </p:nvPicPr>
        <p:blipFill>
          <a:blip r:embed="rId3" cstate="print"/>
          <a:srcRect/>
          <a:stretch>
            <a:fillRect/>
          </a:stretch>
        </p:blipFill>
        <p:spPr bwMode="auto">
          <a:xfrm>
            <a:off x="6717741" y="3556305"/>
            <a:ext cx="406342" cy="652371"/>
          </a:xfrm>
          <a:prstGeom prst="rect">
            <a:avLst/>
          </a:prstGeom>
          <a:noFill/>
          <a:ln w="9525">
            <a:noFill/>
            <a:miter lim="800000"/>
            <a:headEnd/>
            <a:tailEnd/>
          </a:ln>
        </p:spPr>
      </p:pic>
      <p:sp>
        <p:nvSpPr>
          <p:cNvPr id="13" name="Rounded Rectangle 12"/>
          <p:cNvSpPr/>
          <p:nvPr/>
        </p:nvSpPr>
        <p:spPr>
          <a:xfrm>
            <a:off x="775897" y="4349671"/>
            <a:ext cx="4950481" cy="141491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0" name="Rounded Rectangle 19"/>
          <p:cNvSpPr/>
          <p:nvPr/>
        </p:nvSpPr>
        <p:spPr>
          <a:xfrm>
            <a:off x="2310185" y="2533040"/>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19" name="TextBox 18"/>
          <p:cNvSpPr txBox="1"/>
          <p:nvPr/>
        </p:nvSpPr>
        <p:spPr>
          <a:xfrm>
            <a:off x="2491436" y="2579677"/>
            <a:ext cx="2259403" cy="374793"/>
          </a:xfrm>
          <a:prstGeom prst="rect">
            <a:avLst/>
          </a:prstGeom>
          <a:noFill/>
        </p:spPr>
        <p:txBody>
          <a:bodyPr wrap="square" rtlCol="0">
            <a:spAutoFit/>
          </a:bodyPr>
          <a:lstStyle/>
          <a:p>
            <a:pPr defTabSz="914225"/>
            <a:r>
              <a:rPr lang="en-US" dirty="0">
                <a:solidFill>
                  <a:prstClr val="white"/>
                </a:solidFill>
                <a:latin typeface="Segoe UI"/>
              </a:rPr>
              <a:t>Transaction 1</a:t>
            </a:r>
          </a:p>
        </p:txBody>
      </p:sp>
      <p:sp>
        <p:nvSpPr>
          <p:cNvPr id="22" name="Rounded Rectangle 21"/>
          <p:cNvSpPr/>
          <p:nvPr/>
        </p:nvSpPr>
        <p:spPr>
          <a:xfrm>
            <a:off x="2310185" y="4083092"/>
            <a:ext cx="1975665" cy="46255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23" name="TextBox 22"/>
          <p:cNvSpPr txBox="1"/>
          <p:nvPr/>
        </p:nvSpPr>
        <p:spPr>
          <a:xfrm>
            <a:off x="2491436" y="4129729"/>
            <a:ext cx="2259403" cy="374793"/>
          </a:xfrm>
          <a:prstGeom prst="rect">
            <a:avLst/>
          </a:prstGeom>
          <a:noFill/>
        </p:spPr>
        <p:txBody>
          <a:bodyPr wrap="square" rtlCol="0">
            <a:spAutoFit/>
          </a:bodyPr>
          <a:lstStyle/>
          <a:p>
            <a:pPr defTabSz="914225"/>
            <a:r>
              <a:rPr lang="en-US" dirty="0">
                <a:solidFill>
                  <a:prstClr val="white"/>
                </a:solidFill>
                <a:latin typeface="Segoe UI"/>
              </a:rPr>
              <a:t>Transaction 2</a:t>
            </a:r>
          </a:p>
        </p:txBody>
      </p:sp>
      <p:pic>
        <p:nvPicPr>
          <p:cNvPr id="26" name="Picture 25"/>
          <p:cNvPicPr>
            <a:picLocks noChangeAspect="1"/>
          </p:cNvPicPr>
          <p:nvPr/>
        </p:nvPicPr>
        <p:blipFill>
          <a:blip r:embed="rId4"/>
          <a:stretch>
            <a:fillRect/>
          </a:stretch>
        </p:blipFill>
        <p:spPr>
          <a:xfrm>
            <a:off x="908319" y="1447281"/>
            <a:ext cx="4685635" cy="1019030"/>
          </a:xfrm>
          <a:prstGeom prst="rect">
            <a:avLst/>
          </a:prstGeom>
        </p:spPr>
      </p:pic>
      <p:pic>
        <p:nvPicPr>
          <p:cNvPr id="28" name="Picture 27"/>
          <p:cNvPicPr>
            <a:picLocks noChangeAspect="1"/>
          </p:cNvPicPr>
          <p:nvPr/>
        </p:nvPicPr>
        <p:blipFill>
          <a:blip r:embed="rId5"/>
          <a:stretch>
            <a:fillRect/>
          </a:stretch>
        </p:blipFill>
        <p:spPr>
          <a:xfrm>
            <a:off x="875884" y="4629055"/>
            <a:ext cx="4657064" cy="961888"/>
          </a:xfrm>
          <a:prstGeom prst="rect">
            <a:avLst/>
          </a:prstGeom>
        </p:spPr>
      </p:pic>
      <p:sp>
        <p:nvSpPr>
          <p:cNvPr id="21" name="Title 1"/>
          <p:cNvSpPr txBox="1">
            <a:spLocks/>
          </p:cNvSpPr>
          <p:nvPr/>
        </p:nvSpPr>
        <p:spPr>
          <a:xfrm>
            <a:off x="444859" y="290829"/>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sz="3000" dirty="0">
                <a:solidFill>
                  <a:prstClr val="black"/>
                </a:solidFill>
                <a:latin typeface="Segoe UI Semibold" panose="020B0702040204020203" pitchFamily="34" charset="0"/>
              </a:rPr>
              <a:t>What is a Lock?</a:t>
            </a:r>
          </a:p>
        </p:txBody>
      </p:sp>
    </p:spTree>
    <p:extLst>
      <p:ext uri="{BB962C8B-B14F-4D97-AF65-F5344CB8AC3E}">
        <p14:creationId xmlns:p14="http://schemas.microsoft.com/office/powerpoint/2010/main" val="42838565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675" y="1059507"/>
            <a:ext cx="11653523" cy="3545586"/>
          </a:xfrm>
        </p:spPr>
        <p:txBody>
          <a:bodyPr/>
          <a:lstStyle/>
          <a:p>
            <a:r>
              <a:rPr lang="en-US" sz="2600" dirty="0">
                <a:solidFill>
                  <a:schemeClr val="tx1"/>
                </a:solidFill>
              </a:rPr>
              <a:t>Many items can be locked in SQL Server</a:t>
            </a:r>
          </a:p>
          <a:p>
            <a:pPr lvl="1"/>
            <a:r>
              <a:rPr lang="en-US" sz="2600" dirty="0">
                <a:solidFill>
                  <a:schemeClr val="tx1"/>
                </a:solidFill>
                <a:latin typeface="+mj-lt"/>
              </a:rPr>
              <a:t>Databases</a:t>
            </a:r>
          </a:p>
          <a:p>
            <a:pPr lvl="1"/>
            <a:r>
              <a:rPr lang="en-US" sz="2600" dirty="0">
                <a:solidFill>
                  <a:schemeClr val="tx1"/>
                </a:solidFill>
                <a:latin typeface="+mj-lt"/>
              </a:rPr>
              <a:t>Schema</a:t>
            </a:r>
          </a:p>
          <a:p>
            <a:pPr lvl="1"/>
            <a:r>
              <a:rPr lang="en-US" sz="2600" dirty="0">
                <a:solidFill>
                  <a:schemeClr val="tx1"/>
                </a:solidFill>
                <a:latin typeface="+mj-lt"/>
              </a:rPr>
              <a:t>Objects</a:t>
            </a:r>
          </a:p>
          <a:p>
            <a:r>
              <a:rPr lang="en-US" sz="2600" dirty="0">
                <a:solidFill>
                  <a:schemeClr val="tx1"/>
                </a:solidFill>
              </a:rPr>
              <a:t>Some objects can be locked at different levels of granularity</a:t>
            </a:r>
          </a:p>
          <a:p>
            <a:r>
              <a:rPr lang="en-US" sz="2600" dirty="0">
                <a:solidFill>
                  <a:schemeClr val="tx1"/>
                </a:solidFill>
              </a:rPr>
              <a:t>SQL Server will automatically choose the granularity of the lock based on the estimated cost</a:t>
            </a:r>
          </a:p>
          <a:p>
            <a:r>
              <a:rPr lang="en-US" sz="2600" dirty="0">
                <a:solidFill>
                  <a:schemeClr val="tx1"/>
                </a:solidFill>
              </a:rPr>
              <a:t>Multiple levels of granularity are grouped into a lock hierarchy</a:t>
            </a:r>
          </a:p>
        </p:txBody>
      </p:sp>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Multi-Granular Locking</a:t>
            </a:r>
          </a:p>
        </p:txBody>
      </p:sp>
      <p:grpSp>
        <p:nvGrpSpPr>
          <p:cNvPr id="16" name="Group 15"/>
          <p:cNvGrpSpPr/>
          <p:nvPr/>
        </p:nvGrpSpPr>
        <p:grpSpPr>
          <a:xfrm>
            <a:off x="2725082" y="4605093"/>
            <a:ext cx="7118708" cy="2023040"/>
            <a:chOff x="996944" y="4419600"/>
            <a:chExt cx="6975924" cy="1692645"/>
          </a:xfrm>
        </p:grpSpPr>
        <p:sp>
          <p:nvSpPr>
            <p:cNvPr id="17" name="AutoShape 5"/>
            <p:cNvSpPr>
              <a:spLocks noChangeArrowheads="1"/>
            </p:cNvSpPr>
            <p:nvPr/>
          </p:nvSpPr>
          <p:spPr bwMode="auto">
            <a:xfrm>
              <a:off x="1497013" y="4460875"/>
              <a:ext cx="6159500" cy="1333500"/>
            </a:xfrm>
            <a:prstGeom prst="rtTriangle">
              <a:avLst/>
            </a:prstGeom>
            <a:solidFill>
              <a:srgbClr val="129038"/>
            </a:solidFill>
            <a:ln w="6350">
              <a:solidFill>
                <a:sysClr val="window" lastClr="FFFFFF"/>
              </a:solidFill>
              <a:miter lim="800000"/>
              <a:headEnd type="none" w="sm" len="sm"/>
              <a:tailEnd type="none" w="sm" len="sm"/>
            </a:ln>
            <a:effectLst/>
          </p:spPr>
          <p:txBody>
            <a:bodyPr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Locking Cost</a:t>
              </a:r>
              <a:endParaRPr lang="en-US" sz="1765" kern="0" dirty="0">
                <a:solidFill>
                  <a:prstClr val="white"/>
                </a:solidFill>
                <a:effectLst>
                  <a:outerShdw blurRad="38100" dist="38100" dir="2700000" algn="tl">
                    <a:srgbClr val="000000"/>
                  </a:outerShdw>
                </a:effectLst>
                <a:latin typeface="Arial" charset="0"/>
              </a:endParaRPr>
            </a:p>
          </p:txBody>
        </p:sp>
        <p:sp>
          <p:nvSpPr>
            <p:cNvPr id="18" name="AutoShape 6"/>
            <p:cNvSpPr>
              <a:spLocks noChangeArrowheads="1"/>
            </p:cNvSpPr>
            <p:nvPr/>
          </p:nvSpPr>
          <p:spPr bwMode="auto">
            <a:xfrm flipH="1" flipV="1">
              <a:off x="1497013" y="4419600"/>
              <a:ext cx="6159500" cy="1331913"/>
            </a:xfrm>
            <a:prstGeom prst="rtTriangle">
              <a:avLst/>
            </a:prstGeom>
            <a:gradFill rotWithShape="0">
              <a:gsLst>
                <a:gs pos="0">
                  <a:srgbClr val="15AEEF">
                    <a:lumMod val="75000"/>
                  </a:srgbClr>
                </a:gs>
                <a:gs pos="100000">
                  <a:srgbClr val="000000"/>
                </a:gs>
              </a:gsLst>
              <a:lin ang="5400000" scaled="0"/>
            </a:gradFill>
            <a:ln w="6350">
              <a:solidFill>
                <a:sysClr val="window" lastClr="FFFFFF"/>
              </a:solidFill>
              <a:miter lim="800000"/>
              <a:headEnd type="none" w="sm" len="sm"/>
              <a:tailEnd type="none" w="sm" len="sm"/>
            </a:ln>
          </p:spPr>
          <p:txBody>
            <a:bodyPr rot="10800000" wrap="none" anchor="ctr"/>
            <a:lstStyle/>
            <a:p>
              <a:pPr defTabSz="448193">
                <a:defRPr/>
              </a:pPr>
              <a:r>
                <a:rPr lang="en-US" sz="2353" kern="0" dirty="0">
                  <a:solidFill>
                    <a:prstClr val="white"/>
                  </a:solidFill>
                  <a:effectLst>
                    <a:outerShdw blurRad="38100" dist="38100" dir="2700000" algn="tl">
                      <a:srgbClr val="000000"/>
                    </a:outerShdw>
                  </a:effectLst>
                  <a:latin typeface="Arial" charset="0"/>
                </a:rPr>
                <a:t>Concurrency Cost</a:t>
              </a:r>
            </a:p>
          </p:txBody>
        </p:sp>
        <p:sp>
          <p:nvSpPr>
            <p:cNvPr id="19" name="Text Box 7"/>
            <p:cNvSpPr txBox="1">
              <a:spLocks noChangeArrowheads="1"/>
            </p:cNvSpPr>
            <p:nvPr/>
          </p:nvSpPr>
          <p:spPr bwMode="auto">
            <a:xfrm>
              <a:off x="1096963" y="5807737"/>
              <a:ext cx="62551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Row</a:t>
              </a:r>
            </a:p>
          </p:txBody>
        </p:sp>
        <p:sp>
          <p:nvSpPr>
            <p:cNvPr id="20" name="Text Box 8"/>
            <p:cNvSpPr txBox="1">
              <a:spLocks noChangeArrowheads="1"/>
            </p:cNvSpPr>
            <p:nvPr/>
          </p:nvSpPr>
          <p:spPr bwMode="auto">
            <a:xfrm>
              <a:off x="4144963" y="5807737"/>
              <a:ext cx="700914"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Page</a:t>
              </a:r>
            </a:p>
          </p:txBody>
        </p:sp>
        <p:sp>
          <p:nvSpPr>
            <p:cNvPr id="21" name="Text Box 9"/>
            <p:cNvSpPr txBox="1">
              <a:spLocks noChangeArrowheads="1"/>
            </p:cNvSpPr>
            <p:nvPr/>
          </p:nvSpPr>
          <p:spPr bwMode="auto">
            <a:xfrm>
              <a:off x="7235825" y="5807737"/>
              <a:ext cx="737043" cy="304508"/>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Table</a:t>
              </a:r>
            </a:p>
          </p:txBody>
        </p:sp>
        <p:sp>
          <p:nvSpPr>
            <p:cNvPr id="22" name="Line 10"/>
            <p:cNvSpPr>
              <a:spLocks noChangeShapeType="1"/>
            </p:cNvSpPr>
            <p:nvPr/>
          </p:nvSpPr>
          <p:spPr bwMode="auto">
            <a:xfrm>
              <a:off x="1855788" y="5991225"/>
              <a:ext cx="2219325" cy="0"/>
            </a:xfrm>
            <a:prstGeom prst="line">
              <a:avLst/>
            </a:prstGeom>
            <a:noFill/>
            <a:ln w="28575">
              <a:solidFill>
                <a:srgbClr val="000000">
                  <a:lumMod val="85000"/>
                  <a:lumOff val="15000"/>
                </a:srgbClr>
              </a:solidFill>
              <a:round/>
              <a:headEnd type="triangl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3" name="Line 11"/>
            <p:cNvSpPr>
              <a:spLocks noChangeShapeType="1"/>
            </p:cNvSpPr>
            <p:nvPr/>
          </p:nvSpPr>
          <p:spPr bwMode="auto">
            <a:xfrm>
              <a:off x="4935538" y="5991225"/>
              <a:ext cx="2292350" cy="0"/>
            </a:xfrm>
            <a:prstGeom prst="line">
              <a:avLst/>
            </a:prstGeom>
            <a:noFill/>
            <a:ln w="28575">
              <a:solidFill>
                <a:srgbClr val="000000">
                  <a:lumMod val="85000"/>
                  <a:lumOff val="15000"/>
                </a:srgbClr>
              </a:solidFill>
              <a:round/>
              <a:headEnd type="triangle" w="med" len="med"/>
              <a:tailEnd type="triangle" w="med" len="med"/>
            </a:ln>
          </p:spPr>
          <p:txBody>
            <a:bodyPr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4" name="Line 12"/>
            <p:cNvSpPr>
              <a:spLocks noChangeShapeType="1"/>
            </p:cNvSpPr>
            <p:nvPr/>
          </p:nvSpPr>
          <p:spPr bwMode="auto">
            <a:xfrm flipV="1">
              <a:off x="1354654" y="4545013"/>
              <a:ext cx="0" cy="1206500"/>
            </a:xfrm>
            <a:prstGeom prst="line">
              <a:avLst/>
            </a:prstGeom>
            <a:noFill/>
            <a:ln w="28575">
              <a:solidFill>
                <a:srgbClr val="000000">
                  <a:lumMod val="85000"/>
                  <a:lumOff val="15000"/>
                </a:srgbClr>
              </a:solidFill>
              <a:round/>
              <a:headEnd type="none" w="med" len="med"/>
              <a:tailEnd type="triangle" w="med" len="med"/>
            </a:ln>
          </p:spPr>
          <p:txBody>
            <a:bodyPr wrap="none" anchor="ctr">
              <a:spAutoFit/>
            </a:bodyPr>
            <a:lstStyle/>
            <a:p>
              <a:pPr defTabSz="448193">
                <a:defRPr/>
              </a:pPr>
              <a:endParaRPr lang="en-US" sz="1765" kern="0" dirty="0">
                <a:solidFill>
                  <a:srgbClr val="000000"/>
                </a:solidFill>
                <a:latin typeface="Segoe UI Light" panose="020B0502040204020203" pitchFamily="34" charset="0"/>
              </a:endParaRPr>
            </a:p>
          </p:txBody>
        </p:sp>
        <p:sp>
          <p:nvSpPr>
            <p:cNvPr id="25" name="Text Box 13"/>
            <p:cNvSpPr txBox="1">
              <a:spLocks noChangeArrowheads="1"/>
            </p:cNvSpPr>
            <p:nvPr/>
          </p:nvSpPr>
          <p:spPr bwMode="auto">
            <a:xfrm rot="16200000">
              <a:off x="902868" y="4952477"/>
              <a:ext cx="544798" cy="356646"/>
            </a:xfrm>
            <a:prstGeom prst="rect">
              <a:avLst/>
            </a:prstGeom>
            <a:noFill/>
            <a:ln w="12700">
              <a:noFill/>
              <a:miter lim="800000"/>
              <a:headEnd type="none" w="sm" len="sm"/>
              <a:tailEnd type="none" w="sm" len="sm"/>
            </a:ln>
            <a:effectLst/>
          </p:spPr>
          <p:txBody>
            <a:bodyPr wrap="none" anchor="ctr">
              <a:spAutoFit/>
            </a:bodyPr>
            <a:lstStyle/>
            <a:p>
              <a:pPr defTabSz="448193">
                <a:defRPr/>
              </a:pPr>
              <a:r>
                <a:rPr lang="en-US" sz="1765" kern="0" dirty="0">
                  <a:solidFill>
                    <a:srgbClr val="000000"/>
                  </a:solidFill>
                  <a:latin typeface="Arial" charset="0"/>
                </a:rPr>
                <a:t>Cost</a:t>
              </a:r>
            </a:p>
          </p:txBody>
        </p:sp>
      </p:grpSp>
    </p:spTree>
    <p:extLst>
      <p:ext uri="{BB962C8B-B14F-4D97-AF65-F5344CB8AC3E}">
        <p14:creationId xmlns:p14="http://schemas.microsoft.com/office/powerpoint/2010/main" val="33407680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BE4FC68-94BB-4EEC-A529-899F366D5845}"/>
              </a:ext>
            </a:extLst>
          </p:cNvPr>
          <p:cNvGraphicFramePr/>
          <p:nvPr>
            <p:extLst>
              <p:ext uri="{D42A27DB-BD31-4B8C-83A1-F6EECF244321}">
                <p14:modId xmlns:p14="http://schemas.microsoft.com/office/powerpoint/2010/main" val="508814015"/>
              </p:ext>
            </p:extLst>
          </p:nvPr>
        </p:nvGraphicFramePr>
        <p:xfrm>
          <a:off x="593932" y="925173"/>
          <a:ext cx="11329988" cy="5308832"/>
        </p:xfrm>
        <a:graphic>
          <a:graphicData uri="http://schemas.openxmlformats.org/drawingml/2006/table">
            <a:tbl>
              <a:tblPr>
                <a:tableStyleId>{91EBBBCC-DAD2-459C-BE2E-F6DE35CF9A28}</a:tableStyleId>
              </a:tblPr>
              <a:tblGrid>
                <a:gridCol w="3688233">
                  <a:extLst>
                    <a:ext uri="{9D8B030D-6E8A-4147-A177-3AD203B41FA5}">
                      <a16:colId xmlns:a16="http://schemas.microsoft.com/office/drawing/2014/main" val="551438999"/>
                    </a:ext>
                  </a:extLst>
                </a:gridCol>
                <a:gridCol w="7641755">
                  <a:extLst>
                    <a:ext uri="{9D8B030D-6E8A-4147-A177-3AD203B41FA5}">
                      <a16:colId xmlns:a16="http://schemas.microsoft.com/office/drawing/2014/main" val="1370580759"/>
                    </a:ext>
                  </a:extLst>
                </a:gridCol>
              </a:tblGrid>
              <a:tr h="477499">
                <a:tc>
                  <a:txBody>
                    <a:bodyPr/>
                    <a:lstStyle/>
                    <a:p>
                      <a:pPr algn="ctr" fontAlgn="t">
                        <a:spcBef>
                          <a:spcPts val="0"/>
                        </a:spcBef>
                        <a:spcAft>
                          <a:spcPts val="0"/>
                        </a:spcAft>
                      </a:pPr>
                      <a:r>
                        <a:rPr lang="en-US" sz="2400" b="1" u="none" strike="noStrike" dirty="0">
                          <a:solidFill>
                            <a:schemeClr val="bg1"/>
                          </a:solidFill>
                          <a:effectLst/>
                        </a:rPr>
                        <a:t>Resource</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tc>
                  <a:txBody>
                    <a:bodyPr/>
                    <a:lstStyle/>
                    <a:p>
                      <a:pPr algn="ctr" fontAlgn="t">
                        <a:spcBef>
                          <a:spcPts val="0"/>
                        </a:spcBef>
                        <a:spcAft>
                          <a:spcPts val="0"/>
                        </a:spcAft>
                      </a:pPr>
                      <a:r>
                        <a:rPr lang="en-US" sz="2400" b="1" u="none" strike="noStrike" dirty="0">
                          <a:solidFill>
                            <a:schemeClr val="bg1"/>
                          </a:solidFill>
                          <a:effectLst/>
                        </a:rPr>
                        <a:t>Description</a:t>
                      </a:r>
                      <a:endParaRPr lang="en-US" sz="2400" b="1" i="0" u="none" strike="noStrike" dirty="0">
                        <a:solidFill>
                          <a:schemeClr val="bg1"/>
                        </a:solidFill>
                        <a:effectLst/>
                        <a:latin typeface="Arial" panose="020B0604020202020204" pitchFamily="34" charset="0"/>
                      </a:endParaRPr>
                    </a:p>
                  </a:txBody>
                  <a:tcPr marL="18492" marR="18492" marT="9246" marB="9246">
                    <a:solidFill>
                      <a:schemeClr val="accent3"/>
                    </a:solidFill>
                  </a:tcPr>
                </a:tc>
                <a:extLst>
                  <a:ext uri="{0D108BD9-81ED-4DB2-BD59-A6C34878D82A}">
                    <a16:rowId xmlns:a16="http://schemas.microsoft.com/office/drawing/2014/main" val="3084849551"/>
                  </a:ext>
                </a:extLst>
              </a:tr>
              <a:tr h="354080">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RID</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 row identifier used to lock a single row within a heap.</a:t>
                      </a:r>
                    </a:p>
                  </a:txBody>
                  <a:tcPr marL="18492" marR="18492" marT="9246" marB="9246">
                    <a:solidFill>
                      <a:srgbClr val="CBD6EF"/>
                    </a:solidFill>
                  </a:tcPr>
                </a:tc>
                <a:extLst>
                  <a:ext uri="{0D108BD9-81ED-4DB2-BD59-A6C34878D82A}">
                    <a16:rowId xmlns:a16="http://schemas.microsoft.com/office/drawing/2014/main" val="2600364352"/>
                  </a:ext>
                </a:extLst>
              </a:tr>
              <a:tr h="659785">
                <a:tc>
                  <a:txBody>
                    <a:bodyPr/>
                    <a:lstStyle/>
                    <a:p>
                      <a:pPr algn="l" fontAlgn="t">
                        <a:spcBef>
                          <a:spcPts val="0"/>
                        </a:spcBef>
                        <a:spcAft>
                          <a:spcPts val="0"/>
                        </a:spcAft>
                      </a:pPr>
                      <a:r>
                        <a:rPr lang="en-US" sz="2000" u="none" strike="noStrike" dirty="0">
                          <a:effectLst/>
                        </a:rPr>
                        <a:t>KEY</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row lock within an index used to protect key ranges in serializable transaction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1182269037"/>
                  </a:ext>
                </a:extLst>
              </a:tr>
              <a:tr h="659785">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PAGE</a:t>
                      </a:r>
                    </a:p>
                  </a:txBody>
                  <a:tcPr marL="18492" marR="18492" marT="9246" marB="9246">
                    <a:solidFill>
                      <a:srgbClr val="CBD6EF"/>
                    </a:solidFill>
                  </a:tcPr>
                </a:tc>
                <a:tc>
                  <a:txBody>
                    <a:bodyPr/>
                    <a:lstStyle/>
                    <a:p>
                      <a:pPr marL="0" algn="l" defTabSz="932742" rtl="0" eaLnBrk="1" fontAlgn="t" latinLnBrk="0" hangingPunct="1">
                        <a:spcBef>
                          <a:spcPts val="0"/>
                        </a:spcBef>
                        <a:spcAft>
                          <a:spcPts val="0"/>
                        </a:spcAft>
                      </a:pPr>
                      <a:r>
                        <a:rPr lang="en-US" sz="2000" u="none" strike="noStrike" kern="1200" dirty="0">
                          <a:solidFill>
                            <a:schemeClr val="dk1"/>
                          </a:solidFill>
                          <a:effectLst/>
                          <a:latin typeface="Segoe UI" panose="020B0502040204020203" pitchFamily="34" charset="0"/>
                          <a:ea typeface="+mn-ea"/>
                          <a:cs typeface="Segoe UI" panose="020B0502040204020203" pitchFamily="34" charset="0"/>
                        </a:rPr>
                        <a:t>An 8-kilobyte (KB) page in a database, such as data or index pages.</a:t>
                      </a:r>
                    </a:p>
                  </a:txBody>
                  <a:tcPr marL="18492" marR="18492" marT="9246" marB="9246">
                    <a:solidFill>
                      <a:srgbClr val="CBD6EF"/>
                    </a:solidFill>
                  </a:tcPr>
                </a:tc>
                <a:extLst>
                  <a:ext uri="{0D108BD9-81ED-4DB2-BD59-A6C34878D82A}">
                    <a16:rowId xmlns:a16="http://schemas.microsoft.com/office/drawing/2014/main" val="1834709958"/>
                  </a:ext>
                </a:extLst>
              </a:tr>
              <a:tr h="659785">
                <a:tc>
                  <a:txBody>
                    <a:bodyPr/>
                    <a:lstStyle/>
                    <a:p>
                      <a:pPr algn="l" fontAlgn="t">
                        <a:spcBef>
                          <a:spcPts val="0"/>
                        </a:spcBef>
                        <a:spcAft>
                          <a:spcPts val="0"/>
                        </a:spcAft>
                      </a:pPr>
                      <a:r>
                        <a:rPr lang="en-US" sz="2000" u="none" strike="noStrike" dirty="0">
                          <a:effectLst/>
                        </a:rPr>
                        <a:t>EXTENT</a:t>
                      </a:r>
                      <a:endParaRPr lang="en-US" sz="2000" b="0" i="0" u="none" strike="noStrike" dirty="0">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dirty="0">
                          <a:effectLst/>
                        </a:rPr>
                        <a:t>A contiguous group of eight pages, such as data or index pages.</a:t>
                      </a:r>
                      <a:endParaRPr lang="en-US" sz="2000" b="0" i="0" u="none" strike="noStrike" dirty="0">
                        <a:effectLst/>
                        <a:latin typeface="Arial" panose="020B0604020202020204" pitchFamily="34" charset="0"/>
                      </a:endParaRPr>
                    </a:p>
                  </a:txBody>
                  <a:tcPr marL="18492" marR="18492" marT="9246" marB="9246"/>
                </a:tc>
                <a:extLst>
                  <a:ext uri="{0D108BD9-81ED-4DB2-BD59-A6C34878D82A}">
                    <a16:rowId xmlns:a16="http://schemas.microsoft.com/office/drawing/2014/main" val="3273170699"/>
                  </a:ext>
                </a:extLst>
              </a:tr>
              <a:tr h="711606">
                <a:tc>
                  <a:txBody>
                    <a:bodyPr/>
                    <a:lstStyle/>
                    <a:p>
                      <a:pPr algn="l" fontAlgn="t">
                        <a:spcBef>
                          <a:spcPts val="0"/>
                        </a:spcBef>
                        <a:spcAft>
                          <a:spcPts val="0"/>
                        </a:spcAft>
                      </a:pPr>
                      <a:r>
                        <a:rPr lang="en-US" sz="2000" u="none" strike="noStrike" dirty="0" err="1">
                          <a:effectLst/>
                        </a:rPr>
                        <a:t>HoBT</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heap or B-tree. A lock protecting heap data pages in a table that does not have a clustered index or the pages of a B-tree index.</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679612011"/>
                  </a:ext>
                </a:extLst>
              </a:tr>
              <a:tr h="354080">
                <a:tc>
                  <a:txBody>
                    <a:bodyPr/>
                    <a:lstStyle/>
                    <a:p>
                      <a:pPr algn="l" fontAlgn="t">
                        <a:spcBef>
                          <a:spcPts val="0"/>
                        </a:spcBef>
                        <a:spcAft>
                          <a:spcPts val="0"/>
                        </a:spcAft>
                      </a:pPr>
                      <a:r>
                        <a:rPr lang="en-US" sz="2000" u="none" strike="noStrike">
                          <a:effectLst/>
                        </a:rPr>
                        <a:t>TABLE</a:t>
                      </a:r>
                      <a:endParaRPr lang="en-US" sz="2000" b="0" i="0" u="none" strike="noStrike">
                        <a:effectLst/>
                        <a:latin typeface="Arial" panose="020B0604020202020204" pitchFamily="34" charset="0"/>
                      </a:endParaRPr>
                    </a:p>
                  </a:txBody>
                  <a:tcPr marL="18492" marR="18492" marT="9246" marB="9246"/>
                </a:tc>
                <a:tc>
                  <a:txBody>
                    <a:bodyPr/>
                    <a:lstStyle/>
                    <a:p>
                      <a:pPr algn="l" fontAlgn="t">
                        <a:spcBef>
                          <a:spcPts val="0"/>
                        </a:spcBef>
                        <a:spcAft>
                          <a:spcPts val="0"/>
                        </a:spcAft>
                      </a:pPr>
                      <a:r>
                        <a:rPr lang="en-US" sz="2000" u="none" strike="noStrike">
                          <a:effectLst/>
                        </a:rPr>
                        <a:t>The entire table, including all data and indexes.</a:t>
                      </a:r>
                      <a:endParaRPr lang="en-US" sz="2000" b="0" i="0" u="none" strike="noStrike">
                        <a:effectLst/>
                        <a:latin typeface="Arial" panose="020B0604020202020204" pitchFamily="34" charset="0"/>
                      </a:endParaRPr>
                    </a:p>
                  </a:txBody>
                  <a:tcPr marL="18492" marR="18492" marT="9246" marB="9246"/>
                </a:tc>
                <a:extLst>
                  <a:ext uri="{0D108BD9-81ED-4DB2-BD59-A6C34878D82A}">
                    <a16:rowId xmlns:a16="http://schemas.microsoft.com/office/drawing/2014/main" val="2436033383"/>
                  </a:ext>
                </a:extLst>
              </a:tr>
              <a:tr h="338027">
                <a:tc>
                  <a:txBody>
                    <a:bodyPr/>
                    <a:lstStyle/>
                    <a:p>
                      <a:pPr algn="l" fontAlgn="t">
                        <a:spcBef>
                          <a:spcPts val="0"/>
                        </a:spcBef>
                        <a:spcAft>
                          <a:spcPts val="0"/>
                        </a:spcAft>
                      </a:pPr>
                      <a:r>
                        <a:rPr lang="en-US" sz="2000" u="none" strike="noStrike" dirty="0">
                          <a:effectLst/>
                        </a:rPr>
                        <a:t>FIL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A database fil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2390764849"/>
                  </a:ext>
                </a:extLst>
              </a:tr>
              <a:tr h="506959">
                <a:tc>
                  <a:txBody>
                    <a:bodyPr/>
                    <a:lstStyle/>
                    <a:p>
                      <a:pPr algn="l" fontAlgn="t">
                        <a:spcBef>
                          <a:spcPts val="0"/>
                        </a:spcBef>
                        <a:spcAft>
                          <a:spcPts val="0"/>
                        </a:spcAft>
                      </a:pPr>
                      <a:r>
                        <a:rPr lang="en-US" sz="2000" u="none" strike="noStrike" dirty="0">
                          <a:effectLst/>
                        </a:rPr>
                        <a:t>ALLOCATION_UNIT</a:t>
                      </a:r>
                      <a:endParaRPr lang="en-US" sz="2000" b="0" i="0" u="none" strike="noStrike" dirty="0">
                        <a:effectLst/>
                        <a:latin typeface="Arial" panose="020B0604020202020204" pitchFamily="34" charset="0"/>
                      </a:endParaRPr>
                    </a:p>
                  </a:txBody>
                  <a:tcPr marL="18492" marR="18492" marT="9246" marB="9246">
                    <a:solidFill>
                      <a:srgbClr val="DBE3F1"/>
                    </a:solidFill>
                  </a:tcPr>
                </a:tc>
                <a:tc>
                  <a:txBody>
                    <a:bodyPr/>
                    <a:lstStyle/>
                    <a:p>
                      <a:pPr algn="l" fontAlgn="t">
                        <a:spcBef>
                          <a:spcPts val="0"/>
                        </a:spcBef>
                        <a:spcAft>
                          <a:spcPts val="0"/>
                        </a:spcAft>
                      </a:pPr>
                      <a:r>
                        <a:rPr lang="en-US" sz="2000" u="none" strike="noStrike" dirty="0">
                          <a:effectLst/>
                        </a:rPr>
                        <a:t>An allocation unit.</a:t>
                      </a:r>
                      <a:endParaRPr lang="en-US" sz="2000" b="0" i="0" u="none" strike="noStrike" dirty="0">
                        <a:effectLst/>
                        <a:latin typeface="Arial" panose="020B0604020202020204" pitchFamily="34" charset="0"/>
                      </a:endParaRPr>
                    </a:p>
                  </a:txBody>
                  <a:tcPr marL="18492" marR="18492" marT="9246" marB="9246">
                    <a:solidFill>
                      <a:srgbClr val="DBE3F1"/>
                    </a:solidFill>
                  </a:tcPr>
                </a:tc>
                <a:extLst>
                  <a:ext uri="{0D108BD9-81ED-4DB2-BD59-A6C34878D82A}">
                    <a16:rowId xmlns:a16="http://schemas.microsoft.com/office/drawing/2014/main" val="2601625397"/>
                  </a:ext>
                </a:extLst>
              </a:tr>
              <a:tr h="587226">
                <a:tc>
                  <a:txBody>
                    <a:bodyPr/>
                    <a:lstStyle/>
                    <a:p>
                      <a:pPr algn="l" fontAlgn="t">
                        <a:spcBef>
                          <a:spcPts val="0"/>
                        </a:spcBef>
                        <a:spcAft>
                          <a:spcPts val="0"/>
                        </a:spcAft>
                      </a:pPr>
                      <a:r>
                        <a:rPr lang="en-US" sz="2000" u="none" strike="noStrike" dirty="0">
                          <a:effectLst/>
                        </a:rPr>
                        <a:t>DATABASE</a:t>
                      </a:r>
                      <a:endParaRPr lang="en-US" sz="2000" b="0" i="0" u="none" strike="noStrike" dirty="0">
                        <a:effectLst/>
                        <a:latin typeface="Arial" panose="020B0604020202020204" pitchFamily="34" charset="0"/>
                      </a:endParaRPr>
                    </a:p>
                  </a:txBody>
                  <a:tcPr marL="18492" marR="18492" marT="9246" marB="9246">
                    <a:solidFill>
                      <a:srgbClr val="CBD6EF"/>
                    </a:solidFill>
                  </a:tcPr>
                </a:tc>
                <a:tc>
                  <a:txBody>
                    <a:bodyPr/>
                    <a:lstStyle/>
                    <a:p>
                      <a:pPr algn="l" fontAlgn="t">
                        <a:spcBef>
                          <a:spcPts val="0"/>
                        </a:spcBef>
                        <a:spcAft>
                          <a:spcPts val="0"/>
                        </a:spcAft>
                      </a:pPr>
                      <a:r>
                        <a:rPr lang="en-US" sz="2000" u="none" strike="noStrike" dirty="0">
                          <a:effectLst/>
                        </a:rPr>
                        <a:t>The entire database.</a:t>
                      </a:r>
                      <a:endParaRPr lang="en-US" sz="2000" b="0" i="0" u="none" strike="noStrike" dirty="0">
                        <a:effectLst/>
                        <a:latin typeface="Arial" panose="020B0604020202020204" pitchFamily="34" charset="0"/>
                      </a:endParaRPr>
                    </a:p>
                  </a:txBody>
                  <a:tcPr marL="18492" marR="18492" marT="9246" marB="9246">
                    <a:solidFill>
                      <a:srgbClr val="CBD6EF"/>
                    </a:solidFill>
                  </a:tcPr>
                </a:tc>
                <a:extLst>
                  <a:ext uri="{0D108BD9-81ED-4DB2-BD59-A6C34878D82A}">
                    <a16:rowId xmlns:a16="http://schemas.microsoft.com/office/drawing/2014/main" val="3256919526"/>
                  </a:ext>
                </a:extLst>
              </a:tr>
            </a:tbl>
          </a:graphicData>
        </a:graphic>
      </p:graphicFrame>
      <p:sp>
        <p:nvSpPr>
          <p:cNvPr id="4" name="Title 2">
            <a:extLst>
              <a:ext uri="{FF2B5EF4-FFF2-40B4-BE49-F238E27FC236}">
                <a16:creationId xmlns:a16="http://schemas.microsoft.com/office/drawing/2014/main" id="{80315AC2-0FC4-466A-BA64-1CA4AD46B645}"/>
              </a:ext>
            </a:extLst>
          </p:cNvPr>
          <p:cNvSpPr>
            <a:spLocks noGrp="1"/>
          </p:cNvSpPr>
          <p:nvPr>
            <p:ph type="title"/>
          </p:nvPr>
        </p:nvSpPr>
        <p:spPr>
          <a:xfrm>
            <a:off x="268080" y="201099"/>
            <a:ext cx="11655840" cy="899665"/>
          </a:xfrm>
        </p:spPr>
        <p:txBody>
          <a:bodyPr/>
          <a:lstStyle/>
          <a:p>
            <a:r>
              <a:rPr lang="en-US" sz="3200" dirty="0">
                <a:solidFill>
                  <a:srgbClr val="44546A"/>
                </a:solidFill>
                <a:latin typeface="Segoe UI Semibold" panose="020B0702040204020203" pitchFamily="34" charset="0"/>
              </a:rPr>
              <a:t>Lock Granularity and Hierarchies</a:t>
            </a:r>
          </a:p>
        </p:txBody>
      </p:sp>
    </p:spTree>
    <p:extLst>
      <p:ext uri="{BB962C8B-B14F-4D97-AF65-F5344CB8AC3E}">
        <p14:creationId xmlns:p14="http://schemas.microsoft.com/office/powerpoint/2010/main" val="39896212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Lock Duration</a:t>
            </a:r>
          </a:p>
        </p:txBody>
      </p:sp>
      <p:graphicFrame>
        <p:nvGraphicFramePr>
          <p:cNvPr id="6" name="Table 5"/>
          <p:cNvGraphicFramePr>
            <a:graphicFrameLocks noGrp="1"/>
          </p:cNvGraphicFramePr>
          <p:nvPr>
            <p:extLst>
              <p:ext uri="{D42A27DB-BD31-4B8C-83A1-F6EECF244321}">
                <p14:modId xmlns:p14="http://schemas.microsoft.com/office/powerpoint/2010/main" val="3010730985"/>
              </p:ext>
            </p:extLst>
          </p:nvPr>
        </p:nvGraphicFramePr>
        <p:xfrm>
          <a:off x="979560" y="1451885"/>
          <a:ext cx="10232879" cy="4229824"/>
        </p:xfrm>
        <a:graphic>
          <a:graphicData uri="http://schemas.openxmlformats.org/drawingml/2006/table">
            <a:tbl>
              <a:tblPr firstRow="1"/>
              <a:tblGrid>
                <a:gridCol w="1136987">
                  <a:extLst>
                    <a:ext uri="{9D8B030D-6E8A-4147-A177-3AD203B41FA5}">
                      <a16:colId xmlns:a16="http://schemas.microsoft.com/office/drawing/2014/main" val="20000"/>
                    </a:ext>
                  </a:extLst>
                </a:gridCol>
                <a:gridCol w="2273973">
                  <a:extLst>
                    <a:ext uri="{9D8B030D-6E8A-4147-A177-3AD203B41FA5}">
                      <a16:colId xmlns:a16="http://schemas.microsoft.com/office/drawing/2014/main" val="20001"/>
                    </a:ext>
                  </a:extLst>
                </a:gridCol>
                <a:gridCol w="2273973">
                  <a:extLst>
                    <a:ext uri="{9D8B030D-6E8A-4147-A177-3AD203B41FA5}">
                      <a16:colId xmlns:a16="http://schemas.microsoft.com/office/drawing/2014/main" val="20002"/>
                    </a:ext>
                  </a:extLst>
                </a:gridCol>
                <a:gridCol w="2273973">
                  <a:extLst>
                    <a:ext uri="{9D8B030D-6E8A-4147-A177-3AD203B41FA5}">
                      <a16:colId xmlns:a16="http://schemas.microsoft.com/office/drawing/2014/main" val="2033690424"/>
                    </a:ext>
                  </a:extLst>
                </a:gridCol>
                <a:gridCol w="2273973">
                  <a:extLst>
                    <a:ext uri="{9D8B030D-6E8A-4147-A177-3AD203B41FA5}">
                      <a16:colId xmlns:a16="http://schemas.microsoft.com/office/drawing/2014/main" val="20003"/>
                    </a:ext>
                  </a:extLst>
                </a:gridCol>
              </a:tblGrid>
              <a:tr h="640590">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Mod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ad Committe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Repeatable Read</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erializable</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1600" u="none" strike="noStrike" dirty="0">
                          <a:effectLst/>
                          <a:latin typeface="Segoe UI" panose="020B0502040204020203" pitchFamily="34" charset="0"/>
                          <a:cs typeface="Segoe UI" panose="020B0502040204020203" pitchFamily="34" charset="0"/>
                        </a:rPr>
                        <a:t>Snapshot</a:t>
                      </a: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84040" marR="9338" marT="9338"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98574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Shar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N/A</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1"/>
                  </a:ext>
                </a:extLst>
              </a:tr>
              <a:tr h="175181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Updat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a:t>
                      </a:r>
                      <a:r>
                        <a:rPr lang="en-US" sz="1600" u="none" strike="noStrike" baseline="0" dirty="0">
                          <a:effectLst/>
                          <a:latin typeface="Segoe UI" panose="020B0502040204020203" pitchFamily="34" charset="0"/>
                          <a:cs typeface="Segoe UI" panose="020B0502040204020203" pitchFamily="34" charset="0"/>
                        </a:rPr>
                        <a:t> </a:t>
                      </a:r>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data read and processed unless promoted to 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51676">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Exclusive</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1600" u="none" strike="noStrike" dirty="0">
                          <a:effectLst/>
                          <a:latin typeface="Segoe UI" panose="020B0502040204020203" pitchFamily="34" charset="0"/>
                          <a:cs typeface="Segoe UI" panose="020B0502040204020203" pitchFamily="34" charset="0"/>
                        </a:rPr>
                        <a:t>Held until end of transaction</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764710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tandard</a:t>
            </a:r>
          </a:p>
        </p:txBody>
      </p:sp>
      <p:graphicFrame>
        <p:nvGraphicFramePr>
          <p:cNvPr id="5" name="Table 4"/>
          <p:cNvGraphicFramePr>
            <a:graphicFrameLocks noGrp="1"/>
          </p:cNvGraphicFramePr>
          <p:nvPr>
            <p:extLst>
              <p:ext uri="{D42A27DB-BD31-4B8C-83A1-F6EECF244321}">
                <p14:modId xmlns:p14="http://schemas.microsoft.com/office/powerpoint/2010/main" val="3348469366"/>
              </p:ext>
            </p:extLst>
          </p:nvPr>
        </p:nvGraphicFramePr>
        <p:xfrm>
          <a:off x="448213" y="957420"/>
          <a:ext cx="10900525" cy="5235556"/>
        </p:xfrm>
        <a:graphic>
          <a:graphicData uri="http://schemas.openxmlformats.org/drawingml/2006/table">
            <a:tbl>
              <a:tblPr firstRow="1" bandRow="1"/>
              <a:tblGrid>
                <a:gridCol w="3705533">
                  <a:extLst>
                    <a:ext uri="{9D8B030D-6E8A-4147-A177-3AD203B41FA5}">
                      <a16:colId xmlns:a16="http://schemas.microsoft.com/office/drawing/2014/main" val="20000"/>
                    </a:ext>
                  </a:extLst>
                </a:gridCol>
                <a:gridCol w="7194992">
                  <a:extLst>
                    <a:ext uri="{9D8B030D-6E8A-4147-A177-3AD203B41FA5}">
                      <a16:colId xmlns:a16="http://schemas.microsoft.com/office/drawing/2014/main" val="20001"/>
                    </a:ext>
                  </a:extLst>
                </a:gridCol>
              </a:tblGrid>
              <a:tr h="493204">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4932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Stability (Sch-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compiling querie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chema Modification (Sch-M)</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a table data definition language operation (for example, dropping a table) is being performed</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872593">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read operations that do not change or update data, such as a SELECT statemen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on resources that can be updated. Prevents a common form of deadlock that occurs when multiple sessions are reading, locking, and potentially updating resources later</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1251981">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Exclusive (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for data-modification operations, such as INSERT, UPDATE, or DELETE. Ensures that multiple updates cannot be made to the same resource at the same time</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1844134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42110"/>
            <a:ext cx="11655840" cy="899537"/>
          </a:xfrm>
        </p:spPr>
        <p:txBody>
          <a:bodyPr/>
          <a:lstStyle/>
          <a:p>
            <a:r>
              <a:rPr lang="en-US" sz="3200" dirty="0">
                <a:solidFill>
                  <a:srgbClr val="44546A"/>
                </a:solidFill>
                <a:latin typeface="Segoe UI Semibold" panose="020B0702040204020203" pitchFamily="34" charset="0"/>
              </a:rPr>
              <a:t>Lock Mode - Special</a:t>
            </a:r>
          </a:p>
        </p:txBody>
      </p:sp>
      <p:graphicFrame>
        <p:nvGraphicFramePr>
          <p:cNvPr id="5" name="Table 4"/>
          <p:cNvGraphicFramePr>
            <a:graphicFrameLocks noGrp="1"/>
          </p:cNvGraphicFramePr>
          <p:nvPr>
            <p:extLst>
              <p:ext uri="{D42A27DB-BD31-4B8C-83A1-F6EECF244321}">
                <p14:modId xmlns:p14="http://schemas.microsoft.com/office/powerpoint/2010/main" val="3991676885"/>
              </p:ext>
            </p:extLst>
          </p:nvPr>
        </p:nvGraphicFramePr>
        <p:xfrm>
          <a:off x="448213" y="957421"/>
          <a:ext cx="10900526" cy="5494328"/>
        </p:xfrm>
        <a:graphic>
          <a:graphicData uri="http://schemas.openxmlformats.org/drawingml/2006/table">
            <a:tbl>
              <a:tblPr firstRow="1" bandRow="1"/>
              <a:tblGrid>
                <a:gridCol w="3406725">
                  <a:extLst>
                    <a:ext uri="{9D8B030D-6E8A-4147-A177-3AD203B41FA5}">
                      <a16:colId xmlns:a16="http://schemas.microsoft.com/office/drawing/2014/main" val="20000"/>
                    </a:ext>
                  </a:extLst>
                </a:gridCol>
                <a:gridCol w="7493801">
                  <a:extLst>
                    <a:ext uri="{9D8B030D-6E8A-4147-A177-3AD203B41FA5}">
                      <a16:colId xmlns:a16="http://schemas.microsoft.com/office/drawing/2014/main" val="20001"/>
                    </a:ext>
                  </a:extLst>
                </a:gridCol>
              </a:tblGrid>
              <a:tr h="515175">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Lock Mode</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algn="ctr" fontAlgn="t"/>
                      <a:r>
                        <a:rPr lang="en-US" sz="2000" u="none" strike="noStrike" dirty="0">
                          <a:effectLst/>
                          <a:latin typeface="Segoe UI" panose="020B0502040204020203" pitchFamily="34" charset="0"/>
                          <a:cs typeface="Segoe UI" panose="020B0502040204020203" pitchFamily="34" charset="0"/>
                        </a:rPr>
                        <a:t>Description</a:t>
                      </a:r>
                      <a:endParaRPr lang="en-US" sz="20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Shared (IS)</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shared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Update (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updat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515175">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Intent Exclusive (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or will request exclusive lock(s)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687259">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Update (SI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updat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Shared Intent Exclusive (S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shared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pdate Intent Exclusive (UIX)</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Have update lock with intention to acquire exclusive lock at a finer level</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911462">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Bulk Update (BU)</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t"/>
                      <a:r>
                        <a:rPr lang="en-US" sz="2000" u="none" strike="noStrike" dirty="0">
                          <a:effectLst/>
                          <a:latin typeface="Segoe UI" panose="020B0502040204020203" pitchFamily="34" charset="0"/>
                          <a:cs typeface="Segoe UI" panose="020B0502040204020203" pitchFamily="34" charset="0"/>
                        </a:rPr>
                        <a:t>Used when bulk copying data into a table and either TABLOCK hint is specified or the table lock on bulk load table option is set</a:t>
                      </a:r>
                      <a:endParaRPr lang="en-US" sz="20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4202073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solidFill>
                  <a:srgbClr val="44546A"/>
                </a:solidFill>
                <a:latin typeface="Segoe UI Semibold" panose="020B0702040204020203" pitchFamily="34" charset="0"/>
              </a:rPr>
              <a:t>Establish Lock Hierarchy with Intent Locks</a:t>
            </a:r>
          </a:p>
        </p:txBody>
      </p:sp>
      <p:sp>
        <p:nvSpPr>
          <p:cNvPr id="2" name="Text Placeholder 1"/>
          <p:cNvSpPr>
            <a:spLocks noGrp="1"/>
          </p:cNvSpPr>
          <p:nvPr>
            <p:ph type="body" sz="quarter" idx="10"/>
          </p:nvPr>
        </p:nvSpPr>
        <p:spPr>
          <a:xfrm>
            <a:off x="732471" y="2077769"/>
            <a:ext cx="3436294" cy="3318989"/>
          </a:xfrm>
        </p:spPr>
        <p:txBody>
          <a:bodyPr/>
          <a:lstStyle/>
          <a:p>
            <a:r>
              <a:rPr lang="en-US" sz="3137" dirty="0">
                <a:latin typeface="Segoe UI Light" panose="020B0502040204020203" pitchFamily="34" charset="0"/>
                <a:cs typeface="Segoe UI Light" panose="020B0502040204020203" pitchFamily="34" charset="0"/>
              </a:rPr>
              <a:t>To acquire a fine granular lock, you must acquire intent locks on all the higher levels in the hierarchy</a:t>
            </a:r>
          </a:p>
          <a:p>
            <a:endParaRPr lang="en-US" sz="3137"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876" y="1189176"/>
            <a:ext cx="7436093" cy="4856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47073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SQL Server Concurrency and Transactions</a:t>
            </a:r>
          </a:p>
        </p:txBody>
      </p:sp>
    </p:spTree>
    <p:extLst>
      <p:ext uri="{BB962C8B-B14F-4D97-AF65-F5344CB8AC3E}">
        <p14:creationId xmlns:p14="http://schemas.microsoft.com/office/powerpoint/2010/main" val="15387753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hierarchy with intent locks</a:t>
            </a:r>
          </a:p>
        </p:txBody>
      </p:sp>
      <p:graphicFrame>
        <p:nvGraphicFramePr>
          <p:cNvPr id="5" name="Content Placeholder 4">
            <a:extLst>
              <a:ext uri="{FF2B5EF4-FFF2-40B4-BE49-F238E27FC236}">
                <a16:creationId xmlns:a16="http://schemas.microsoft.com/office/drawing/2014/main" id="{78BFB731-FB43-4ACF-BB33-E13D7229B2EF}"/>
              </a:ext>
            </a:extLst>
          </p:cNvPr>
          <p:cNvGraphicFramePr>
            <a:graphicFrameLocks noGrp="1"/>
          </p:cNvGraphicFramePr>
          <p:nvPr>
            <p:ph sz="quarter" idx="13"/>
            <p:extLst>
              <p:ext uri="{D42A27DB-BD31-4B8C-83A1-F6EECF244321}">
                <p14:modId xmlns:p14="http://schemas.microsoft.com/office/powerpoint/2010/main" val="2534683456"/>
              </p:ext>
            </p:extLst>
          </p:nvPr>
        </p:nvGraphicFramePr>
        <p:xfrm>
          <a:off x="655638" y="1408113"/>
          <a:ext cx="1077436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61963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200" dirty="0">
                <a:solidFill>
                  <a:srgbClr val="44546A"/>
                </a:solidFill>
                <a:latin typeface="Segoe UI Semibold" panose="020B0702040204020203" pitchFamily="34" charset="0"/>
              </a:rPr>
              <a:t>Lock Compatibility</a:t>
            </a:r>
          </a:p>
        </p:txBody>
      </p:sp>
      <p:graphicFrame>
        <p:nvGraphicFramePr>
          <p:cNvPr id="8" name="Table 7"/>
          <p:cNvGraphicFramePr>
            <a:graphicFrameLocks noGrp="1"/>
          </p:cNvGraphicFramePr>
          <p:nvPr>
            <p:extLst>
              <p:ext uri="{D42A27DB-BD31-4B8C-83A1-F6EECF244321}">
                <p14:modId xmlns:p14="http://schemas.microsoft.com/office/powerpoint/2010/main" val="3835244152"/>
              </p:ext>
            </p:extLst>
          </p:nvPr>
        </p:nvGraphicFramePr>
        <p:xfrm>
          <a:off x="889074" y="1411587"/>
          <a:ext cx="9860670" cy="4583214"/>
        </p:xfrm>
        <a:graphic>
          <a:graphicData uri="http://schemas.openxmlformats.org/drawingml/2006/table">
            <a:tbl>
              <a:tblPr firstRow="1" bandRow="1"/>
              <a:tblGrid>
                <a:gridCol w="4238153">
                  <a:extLst>
                    <a:ext uri="{9D8B030D-6E8A-4147-A177-3AD203B41FA5}">
                      <a16:colId xmlns:a16="http://schemas.microsoft.com/office/drawing/2014/main" val="20000"/>
                    </a:ext>
                  </a:extLst>
                </a:gridCol>
                <a:gridCol w="937087">
                  <a:extLst>
                    <a:ext uri="{9D8B030D-6E8A-4147-A177-3AD203B41FA5}">
                      <a16:colId xmlns:a16="http://schemas.microsoft.com/office/drawing/2014/main" val="20001"/>
                    </a:ext>
                  </a:extLst>
                </a:gridCol>
                <a:gridCol w="937086">
                  <a:extLst>
                    <a:ext uri="{9D8B030D-6E8A-4147-A177-3AD203B41FA5}">
                      <a16:colId xmlns:a16="http://schemas.microsoft.com/office/drawing/2014/main" val="20002"/>
                    </a:ext>
                  </a:extLst>
                </a:gridCol>
                <a:gridCol w="937086">
                  <a:extLst>
                    <a:ext uri="{9D8B030D-6E8A-4147-A177-3AD203B41FA5}">
                      <a16:colId xmlns:a16="http://schemas.microsoft.com/office/drawing/2014/main" val="20003"/>
                    </a:ext>
                  </a:extLst>
                </a:gridCol>
                <a:gridCol w="937086">
                  <a:extLst>
                    <a:ext uri="{9D8B030D-6E8A-4147-A177-3AD203B41FA5}">
                      <a16:colId xmlns:a16="http://schemas.microsoft.com/office/drawing/2014/main" val="20004"/>
                    </a:ext>
                  </a:extLst>
                </a:gridCol>
                <a:gridCol w="937086">
                  <a:extLst>
                    <a:ext uri="{9D8B030D-6E8A-4147-A177-3AD203B41FA5}">
                      <a16:colId xmlns:a16="http://schemas.microsoft.com/office/drawing/2014/main" val="20005"/>
                    </a:ext>
                  </a:extLst>
                </a:gridCol>
                <a:gridCol w="937086">
                  <a:extLst>
                    <a:ext uri="{9D8B030D-6E8A-4147-A177-3AD203B41FA5}">
                      <a16:colId xmlns:a16="http://schemas.microsoft.com/office/drawing/2014/main" val="20006"/>
                    </a:ext>
                  </a:extLst>
                </a:gridCol>
              </a:tblGrid>
              <a:tr h="503298">
                <a:tc>
                  <a:txBody>
                    <a:bodyPr/>
                    <a:lstStyle>
                      <a:lvl1pPr marL="0" algn="l" defTabSz="932742" rtl="0" eaLnBrk="1" latinLnBrk="0" hangingPunct="1">
                        <a:defRPr sz="1800" b="1" kern="1200">
                          <a:solidFill>
                            <a:schemeClr val="lt1"/>
                          </a:solidFill>
                          <a:latin typeface="Calibri" panose="020F0502020204030204"/>
                        </a:defRPr>
                      </a:lvl1pPr>
                      <a:lvl2pPr marL="466371" algn="l" defTabSz="932742" rtl="0" eaLnBrk="1" latinLnBrk="0" hangingPunct="1">
                        <a:defRPr sz="1800" b="1" kern="1200">
                          <a:solidFill>
                            <a:schemeClr val="lt1"/>
                          </a:solidFill>
                          <a:latin typeface="Calibri" panose="020F0502020204030204"/>
                        </a:defRPr>
                      </a:lvl2pPr>
                      <a:lvl3pPr marL="932742" algn="l" defTabSz="932742" rtl="0" eaLnBrk="1" latinLnBrk="0" hangingPunct="1">
                        <a:defRPr sz="1800" b="1" kern="1200">
                          <a:solidFill>
                            <a:schemeClr val="lt1"/>
                          </a:solidFill>
                          <a:latin typeface="Calibri" panose="020F0502020204030204"/>
                        </a:defRPr>
                      </a:lvl3pPr>
                      <a:lvl4pPr marL="1399113" algn="l" defTabSz="932742" rtl="0" eaLnBrk="1" latinLnBrk="0" hangingPunct="1">
                        <a:defRPr sz="1800" b="1" kern="1200">
                          <a:solidFill>
                            <a:schemeClr val="lt1"/>
                          </a:solidFill>
                          <a:latin typeface="Calibri" panose="020F0502020204030204"/>
                        </a:defRPr>
                      </a:lvl4pPr>
                      <a:lvl5pPr marL="1865484" algn="l" defTabSz="932742" rtl="0" eaLnBrk="1" latinLnBrk="0" hangingPunct="1">
                        <a:defRPr sz="1800" b="1" kern="1200">
                          <a:solidFill>
                            <a:schemeClr val="lt1"/>
                          </a:solidFill>
                          <a:latin typeface="Calibri" panose="020F0502020204030204"/>
                        </a:defRPr>
                      </a:lvl5pPr>
                      <a:lvl6pPr marL="2331856" algn="l" defTabSz="932742" rtl="0" eaLnBrk="1" latinLnBrk="0" hangingPunct="1">
                        <a:defRPr sz="1800" b="1" kern="1200">
                          <a:solidFill>
                            <a:schemeClr val="lt1"/>
                          </a:solidFill>
                          <a:latin typeface="Calibri" panose="020F0502020204030204"/>
                        </a:defRPr>
                      </a:lvl6pPr>
                      <a:lvl7pPr marL="2798226" algn="l" defTabSz="932742" rtl="0" eaLnBrk="1" latinLnBrk="0" hangingPunct="1">
                        <a:defRPr sz="1800" b="1" kern="1200">
                          <a:solidFill>
                            <a:schemeClr val="lt1"/>
                          </a:solidFill>
                          <a:latin typeface="Calibri" panose="020F0502020204030204"/>
                        </a:defRPr>
                      </a:lvl7pPr>
                      <a:lvl8pPr marL="3264597" algn="l" defTabSz="932742" rtl="0" eaLnBrk="1" latinLnBrk="0" hangingPunct="1">
                        <a:defRPr sz="1800" b="1" kern="1200">
                          <a:solidFill>
                            <a:schemeClr val="lt1"/>
                          </a:solidFill>
                          <a:latin typeface="Calibri" panose="020F0502020204030204"/>
                        </a:defRPr>
                      </a:lvl8pPr>
                      <a:lvl9pPr marL="3730969" algn="l" defTabSz="932742" rtl="0" eaLnBrk="1" latinLnBrk="0" hangingPunct="1">
                        <a:defRPr sz="1800" b="1" kern="1200">
                          <a:solidFill>
                            <a:schemeClr val="lt1"/>
                          </a:solidFill>
                          <a:latin typeface="Calibri" panose="020F0502020204030204"/>
                        </a:defRPr>
                      </a:lvl9pPr>
                    </a:lstStyle>
                    <a:p>
                      <a:pPr marL="0" marR="0" indent="0" algn="ctr" defTabSz="914400" eaLnBrk="1" fontAlgn="b" latinLnBrk="0" hangingPunct="1">
                        <a:lnSpc>
                          <a:spcPct val="100000"/>
                        </a:lnSpc>
                        <a:spcBef>
                          <a:spcPts val="0"/>
                        </a:spcBef>
                        <a:spcAft>
                          <a:spcPts val="0"/>
                        </a:spcAft>
                        <a:buClrTx/>
                        <a:buSzTx/>
                        <a:buFontTx/>
                        <a:buNone/>
                        <a:tabLst/>
                        <a:defRPr/>
                      </a:pPr>
                      <a:endParaRPr lang="en-US" sz="1600" b="1" i="0" u="none" strike="noStrike" dirty="0">
                        <a:solidFill>
                          <a:srgbClr val="FFFFFF"/>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gridSpan="6">
                  <a:txBody>
                    <a:body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Existing Granted Mode</a:t>
                      </a: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lnL w="12700" cap="flat" cmpd="sng" algn="ctr">
                      <a:solidFill>
                        <a:sysClr val="window" lastClr="FFFFFF"/>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7497">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marL="0" marR="0" lvl="0" indent="0" algn="ctr" defTabSz="932742" rtl="0" eaLnBrk="1" fontAlgn="b" latinLnBrk="0" hangingPunct="1">
                        <a:lnSpc>
                          <a:spcPct val="100000"/>
                        </a:lnSpc>
                        <a:spcBef>
                          <a:spcPts val="0"/>
                        </a:spcBef>
                        <a:spcAft>
                          <a:spcPts val="0"/>
                        </a:spcAft>
                        <a:buClrTx/>
                        <a:buSzTx/>
                        <a:buFontTx/>
                        <a:buNone/>
                        <a:tabLst/>
                        <a:defRPr/>
                      </a:pPr>
                      <a:r>
                        <a:rPr lang="en-US" sz="2000" b="1" u="none" strike="noStrike" kern="1200" dirty="0">
                          <a:solidFill>
                            <a:schemeClr val="bg1"/>
                          </a:solidFill>
                          <a:effectLst/>
                          <a:latin typeface="Segoe UI" panose="020B0502040204020203" pitchFamily="34" charset="0"/>
                          <a:ea typeface="+mn-ea"/>
                          <a:cs typeface="Segoe UI" panose="020B0502040204020203" pitchFamily="34" charset="0"/>
                        </a:rPr>
                        <a:t>Requested Mode</a:t>
                      </a:r>
                    </a:p>
                    <a:p>
                      <a:pPr algn="l" fontAlgn="b"/>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U</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SI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b="1" u="none" strike="noStrike" dirty="0">
                          <a:solidFill>
                            <a:schemeClr val="bg1"/>
                          </a:solidFill>
                          <a:effectLst/>
                          <a:latin typeface="Segoe UI" panose="020B0502040204020203" pitchFamily="34" charset="0"/>
                          <a:cs typeface="Segoe UI" panose="020B0502040204020203" pitchFamily="34" charset="0"/>
                        </a:rPr>
                        <a:t>X</a:t>
                      </a:r>
                      <a:endParaRPr lang="en-US" sz="1600" b="1" i="0" u="none" strike="noStrike" dirty="0">
                        <a:solidFill>
                          <a:schemeClr val="bg1"/>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0001"/>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shared (I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S)</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618804">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Update (U)</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Intent exclusive (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80963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Shared with intent exclusive (SI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Yes</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503298">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l" fontAlgn="b"/>
                      <a:r>
                        <a:rPr lang="en-US" sz="1600" u="none" strike="noStrike" dirty="0">
                          <a:effectLst/>
                          <a:latin typeface="Segoe UI" panose="020B0502040204020203" pitchFamily="34" charset="0"/>
                          <a:cs typeface="Segoe UI" panose="020B0502040204020203" pitchFamily="34" charset="0"/>
                        </a:rPr>
                        <a:t>Exclusive (X)</a:t>
                      </a:r>
                      <a:endParaRPr lang="en-US" sz="1600" b="1"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32742" rtl="0" eaLnBrk="1" latinLnBrk="0" hangingPunct="1">
                        <a:defRPr sz="1800" kern="1200">
                          <a:solidFill>
                            <a:schemeClr val="dk1"/>
                          </a:solidFill>
                          <a:latin typeface="Calibri" panose="020F0502020204030204"/>
                        </a:defRPr>
                      </a:lvl1pPr>
                      <a:lvl2pPr marL="466371" algn="l" defTabSz="932742" rtl="0" eaLnBrk="1" latinLnBrk="0" hangingPunct="1">
                        <a:defRPr sz="1800" kern="1200">
                          <a:solidFill>
                            <a:schemeClr val="dk1"/>
                          </a:solidFill>
                          <a:latin typeface="Calibri" panose="020F0502020204030204"/>
                        </a:defRPr>
                      </a:lvl2pPr>
                      <a:lvl3pPr marL="932742" algn="l" defTabSz="932742" rtl="0" eaLnBrk="1" latinLnBrk="0" hangingPunct="1">
                        <a:defRPr sz="1800" kern="1200">
                          <a:solidFill>
                            <a:schemeClr val="dk1"/>
                          </a:solidFill>
                          <a:latin typeface="Calibri" panose="020F0502020204030204"/>
                        </a:defRPr>
                      </a:lvl3pPr>
                      <a:lvl4pPr marL="1399113" algn="l" defTabSz="932742" rtl="0" eaLnBrk="1" latinLnBrk="0" hangingPunct="1">
                        <a:defRPr sz="1800" kern="1200">
                          <a:solidFill>
                            <a:schemeClr val="dk1"/>
                          </a:solidFill>
                          <a:latin typeface="Calibri" panose="020F0502020204030204"/>
                        </a:defRPr>
                      </a:lvl4pPr>
                      <a:lvl5pPr marL="1865484" algn="l" defTabSz="932742" rtl="0" eaLnBrk="1" latinLnBrk="0" hangingPunct="1">
                        <a:defRPr sz="1800" kern="1200">
                          <a:solidFill>
                            <a:schemeClr val="dk1"/>
                          </a:solidFill>
                          <a:latin typeface="Calibri" panose="020F0502020204030204"/>
                        </a:defRPr>
                      </a:lvl5pPr>
                      <a:lvl6pPr marL="2331856" algn="l" defTabSz="932742" rtl="0" eaLnBrk="1" latinLnBrk="0" hangingPunct="1">
                        <a:defRPr sz="1800" kern="1200">
                          <a:solidFill>
                            <a:schemeClr val="dk1"/>
                          </a:solidFill>
                          <a:latin typeface="Calibri" panose="020F0502020204030204"/>
                        </a:defRPr>
                      </a:lvl6pPr>
                      <a:lvl7pPr marL="2798226" algn="l" defTabSz="932742" rtl="0" eaLnBrk="1" latinLnBrk="0" hangingPunct="1">
                        <a:defRPr sz="1800" kern="1200">
                          <a:solidFill>
                            <a:schemeClr val="dk1"/>
                          </a:solidFill>
                          <a:latin typeface="Calibri" panose="020F0502020204030204"/>
                        </a:defRPr>
                      </a:lvl7pPr>
                      <a:lvl8pPr marL="3264597" algn="l" defTabSz="932742" rtl="0" eaLnBrk="1" latinLnBrk="0" hangingPunct="1">
                        <a:defRPr sz="1800" kern="1200">
                          <a:solidFill>
                            <a:schemeClr val="dk1"/>
                          </a:solidFill>
                          <a:latin typeface="Calibri" panose="020F0502020204030204"/>
                        </a:defRPr>
                      </a:lvl8pPr>
                      <a:lvl9pPr marL="3730969" algn="l" defTabSz="932742" rtl="0" eaLnBrk="1" latinLnBrk="0" hangingPunct="1">
                        <a:defRPr sz="1800" kern="1200">
                          <a:solidFill>
                            <a:schemeClr val="dk1"/>
                          </a:solidFill>
                          <a:latin typeface="Calibri" panose="020F0502020204030204"/>
                        </a:defRPr>
                      </a:lvl9pPr>
                    </a:lstStyle>
                    <a:p>
                      <a:pPr algn="ctr" fontAlgn="b"/>
                      <a:r>
                        <a:rPr lang="en-US" sz="1600" u="none" strike="noStrike" dirty="0">
                          <a:effectLst/>
                          <a:latin typeface="Segoe UI" panose="020B0502040204020203" pitchFamily="34" charset="0"/>
                          <a:cs typeface="Segoe UI" panose="020B0502040204020203" pitchFamily="34" charset="0"/>
                        </a:rPr>
                        <a:t>No</a:t>
                      </a:r>
                      <a:endParaRPr lang="en-US" sz="1600" b="0" i="0" u="none" strike="noStrike" dirty="0">
                        <a:solidFill>
                          <a:srgbClr val="000000"/>
                        </a:solidFill>
                        <a:effectLst/>
                        <a:latin typeface="Segoe UI" panose="020B0502040204020203" pitchFamily="34" charset="0"/>
                        <a:cs typeface="Segoe UI" panose="020B0502040204020203" pitchFamily="34" charset="0"/>
                      </a:endParaRPr>
                    </a:p>
                  </a:txBody>
                  <a:tcPr marL="44821" marR="44821" marT="44821" marB="4482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7621075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ynamic locking</a:t>
            </a:r>
          </a:p>
        </p:txBody>
      </p:sp>
      <p:graphicFrame>
        <p:nvGraphicFramePr>
          <p:cNvPr id="6" name="Content Placeholder 5">
            <a:extLst>
              <a:ext uri="{FF2B5EF4-FFF2-40B4-BE49-F238E27FC236}">
                <a16:creationId xmlns:a16="http://schemas.microsoft.com/office/drawing/2014/main" id="{B8E9BD94-A1FC-4D94-B4ED-FC3A51FA4D9A}"/>
              </a:ext>
            </a:extLst>
          </p:cNvPr>
          <p:cNvGraphicFramePr>
            <a:graphicFrameLocks noGrp="1"/>
          </p:cNvGraphicFramePr>
          <p:nvPr>
            <p:ph sz="quarter" idx="13"/>
            <p:extLst>
              <p:ext uri="{D42A27DB-BD31-4B8C-83A1-F6EECF244321}">
                <p14:modId xmlns:p14="http://schemas.microsoft.com/office/powerpoint/2010/main" val="178035985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30895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 escalation</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marL="0" indent="0">
              <a:buNone/>
            </a:pPr>
            <a:r>
              <a:rPr lang="en-US" dirty="0"/>
              <a:t>Lock manager attempts to replace many row or page locks with a single table-level lock.</a:t>
            </a:r>
          </a:p>
          <a:p>
            <a:pPr lvl="1"/>
            <a:r>
              <a:rPr lang="en-US" dirty="0"/>
              <a:t>One Table lock is faster and easier to manage than thousands of Row locks.</a:t>
            </a:r>
          </a:p>
          <a:p>
            <a:pPr lvl="1"/>
            <a:r>
              <a:rPr lang="en-US" dirty="0"/>
              <a:t>One Table lock requires less memory than many Row Locks.</a:t>
            </a:r>
          </a:p>
          <a:p>
            <a:pPr marL="0" indent="0">
              <a:buNone/>
            </a:pPr>
            <a:r>
              <a:rPr lang="en-US" dirty="0"/>
              <a:t>It never converts row locks to page locks.</a:t>
            </a:r>
          </a:p>
          <a:p>
            <a:pPr marL="0" indent="0">
              <a:buNone/>
            </a:pPr>
            <a:r>
              <a:rPr lang="en-US" dirty="0"/>
              <a:t>Lock de-escalation never occurs.</a:t>
            </a:r>
          </a:p>
          <a:p>
            <a:pPr marL="0" indent="0">
              <a:buNone/>
            </a:pPr>
            <a:r>
              <a:rPr lang="en-US" dirty="0"/>
              <a:t>Lock Escalation behavior can be controlled.</a:t>
            </a:r>
          </a:p>
          <a:p>
            <a:endParaRPr lang="en-US" dirty="0"/>
          </a:p>
          <a:p>
            <a:endParaRPr lang="en-US" dirty="0"/>
          </a:p>
          <a:p>
            <a:pPr marL="0" indent="0">
              <a:buNone/>
            </a:pPr>
            <a:endParaRPr lang="en-US" dirty="0"/>
          </a:p>
          <a:p>
            <a:pPr marL="0" indent="0">
              <a:buNone/>
            </a:pPr>
            <a:r>
              <a:rPr lang="en-US" dirty="0"/>
              <a:t>Syntax:</a:t>
            </a:r>
          </a:p>
          <a:p>
            <a:endParaRPr lang="en-US" dirty="0"/>
          </a:p>
        </p:txBody>
      </p:sp>
      <p:sp>
        <p:nvSpPr>
          <p:cNvPr id="5" name="Rectangle 4">
            <a:extLst>
              <a:ext uri="{FF2B5EF4-FFF2-40B4-BE49-F238E27FC236}">
                <a16:creationId xmlns:a16="http://schemas.microsoft.com/office/drawing/2014/main" id="{7C684229-8F9E-4FE4-BEB3-C74B8A73A42F}"/>
              </a:ext>
            </a:extLst>
          </p:cNvPr>
          <p:cNvSpPr/>
          <p:nvPr/>
        </p:nvSpPr>
        <p:spPr>
          <a:xfrm>
            <a:off x="655636" y="6071617"/>
            <a:ext cx="10880725" cy="588964"/>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 TABLE </a:t>
            </a:r>
            <a:r>
              <a:rPr lang="en-US" dirty="0">
                <a:solidFill>
                  <a:srgbClr val="000000"/>
                </a:solidFill>
                <a:latin typeface="Consolas" panose="020B0609020204030204" pitchFamily="49" charset="0"/>
              </a:rPr>
              <a:t>Table_name  </a:t>
            </a:r>
            <a:r>
              <a:rPr lang="en-US" dirty="0">
                <a:solidFill>
                  <a:srgbClr val="0000FF"/>
                </a:solidFill>
                <a:latin typeface="Consolas" panose="020B0609020204030204" pitchFamily="49" charset="0"/>
              </a:rPr>
              <a:t>SET ( LOCK_ESCALATION = { AUTO | TABLE | DISABLE } )</a:t>
            </a:r>
            <a:r>
              <a:rPr lang="en-US" dirty="0">
                <a:solidFill>
                  <a:srgbClr val="0000FF"/>
                </a:solidFill>
                <a:latin typeface="Lucida Console" panose="020B0609040504020204" pitchFamily="49" charset="0"/>
              </a:rPr>
              <a:t> </a:t>
            </a:r>
          </a:p>
        </p:txBody>
      </p:sp>
      <p:graphicFrame>
        <p:nvGraphicFramePr>
          <p:cNvPr id="6" name="Table 6">
            <a:extLst>
              <a:ext uri="{FF2B5EF4-FFF2-40B4-BE49-F238E27FC236}">
                <a16:creationId xmlns:a16="http://schemas.microsoft.com/office/drawing/2014/main" id="{E626F32D-55D9-46C8-B921-8D7923DE8C88}"/>
              </a:ext>
            </a:extLst>
          </p:cNvPr>
          <p:cNvGraphicFramePr>
            <a:graphicFrameLocks noGrp="1"/>
          </p:cNvGraphicFramePr>
          <p:nvPr>
            <p:extLst>
              <p:ext uri="{D42A27DB-BD31-4B8C-83A1-F6EECF244321}">
                <p14:modId xmlns:p14="http://schemas.microsoft.com/office/powerpoint/2010/main" val="1473988611"/>
              </p:ext>
            </p:extLst>
          </p:nvPr>
        </p:nvGraphicFramePr>
        <p:xfrm>
          <a:off x="1073285" y="4439368"/>
          <a:ext cx="10363200" cy="1005840"/>
        </p:xfrm>
        <a:graphic>
          <a:graphicData uri="http://schemas.openxmlformats.org/drawingml/2006/table">
            <a:tbl>
              <a:tblPr firstRow="1" bandRow="1">
                <a:tableStyleId>{9DCAF9ED-07DC-4A11-8D7F-57B35C25682E}</a:tableStyleId>
              </a:tblPr>
              <a:tblGrid>
                <a:gridCol w="5105400">
                  <a:extLst>
                    <a:ext uri="{9D8B030D-6E8A-4147-A177-3AD203B41FA5}">
                      <a16:colId xmlns:a16="http://schemas.microsoft.com/office/drawing/2014/main" val="4232920175"/>
                    </a:ext>
                  </a:extLst>
                </a:gridCol>
                <a:gridCol w="5257800">
                  <a:extLst>
                    <a:ext uri="{9D8B030D-6E8A-4147-A177-3AD203B41FA5}">
                      <a16:colId xmlns:a16="http://schemas.microsoft.com/office/drawing/2014/main" val="330103553"/>
                    </a:ext>
                  </a:extLst>
                </a:gridCol>
              </a:tblGrid>
              <a:tr h="0">
                <a:tc>
                  <a:txBody>
                    <a:bodyPr/>
                    <a:lstStyle/>
                    <a:p>
                      <a:r>
                        <a:rPr lang="en-US" dirty="0"/>
                        <a:t>Server Level</a:t>
                      </a:r>
                    </a:p>
                  </a:txBody>
                  <a:tcPr/>
                </a:tc>
                <a:tc>
                  <a:txBody>
                    <a:bodyPr/>
                    <a:lstStyle/>
                    <a:p>
                      <a:r>
                        <a:rPr lang="en-US" dirty="0"/>
                        <a:t>Table Level</a:t>
                      </a:r>
                    </a:p>
                  </a:txBody>
                  <a:tcPr/>
                </a:tc>
                <a:extLst>
                  <a:ext uri="{0D108BD9-81ED-4DB2-BD59-A6C34878D82A}">
                    <a16:rowId xmlns:a16="http://schemas.microsoft.com/office/drawing/2014/main" val="1295780702"/>
                  </a:ext>
                </a:extLst>
              </a:tr>
              <a:tr h="370840">
                <a:tc>
                  <a:txBody>
                    <a:bodyPr/>
                    <a:lstStyle/>
                    <a:p>
                      <a:r>
                        <a:rPr lang="en-US" dirty="0"/>
                        <a:t>Trace Flag 1211</a:t>
                      </a:r>
                    </a:p>
                    <a:p>
                      <a:r>
                        <a:rPr lang="en-US" sz="1800" dirty="0"/>
                        <a:t>Disables lock escalation due to memory pressure</a:t>
                      </a:r>
                      <a:endParaRPr lang="en-US" dirty="0"/>
                    </a:p>
                  </a:txBody>
                  <a:tcPr/>
                </a:tc>
                <a:tc>
                  <a:txBody>
                    <a:bodyPr/>
                    <a:lstStyle/>
                    <a:p>
                      <a:pPr marL="0" algn="l" defTabSz="914400" rtl="0" eaLnBrk="1" latinLnBrk="0" hangingPunct="1"/>
                      <a:r>
                        <a:rPr lang="en-US" sz="1800" kern="1200" dirty="0">
                          <a:solidFill>
                            <a:schemeClr val="dk1"/>
                          </a:solidFill>
                        </a:rPr>
                        <a:t>AUTO | TABLE (Default) | DISABLE </a:t>
                      </a:r>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2447036140"/>
                  </a:ext>
                </a:extLst>
              </a:tr>
            </a:tbl>
          </a:graphicData>
        </a:graphic>
      </p:graphicFrame>
      <p:sp>
        <p:nvSpPr>
          <p:cNvPr id="7" name="TextBox 6">
            <a:extLst>
              <a:ext uri="{FF2B5EF4-FFF2-40B4-BE49-F238E27FC236}">
                <a16:creationId xmlns:a16="http://schemas.microsoft.com/office/drawing/2014/main" id="{2DA05F9B-A0CF-4F87-A816-82DAB1056DC0}"/>
              </a:ext>
            </a:extLst>
          </p:cNvPr>
          <p:cNvSpPr txBox="1"/>
          <p:nvPr/>
        </p:nvSpPr>
        <p:spPr>
          <a:xfrm>
            <a:off x="6254885" y="2976664"/>
            <a:ext cx="914400" cy="914400"/>
          </a:xfrm>
          <a:prstGeom prst="rect">
            <a:avLst/>
          </a:prstGeom>
          <a:noFill/>
        </p:spPr>
        <p:txBody>
          <a:bodyPr wrap="square" lIns="0" tIns="0" rIns="0" bIns="0" rtlCol="0">
            <a:spAutoFit/>
          </a:bodyPr>
          <a:lstStyle/>
          <a:p>
            <a:pPr algn="l"/>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442644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89177"/>
            <a:ext cx="11653523" cy="673454"/>
          </a:xfrm>
        </p:spPr>
        <p:txBody>
          <a:bodyPr/>
          <a:lstStyle/>
          <a:p>
            <a:endParaRPr lang="en-US" dirty="0"/>
          </a:p>
        </p:txBody>
      </p:sp>
      <p:sp>
        <p:nvSpPr>
          <p:cNvPr id="6" name="Text Placeholder 5"/>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dirty="0"/>
              <a:t>Notes</a:t>
            </a:r>
          </a:p>
        </p:txBody>
      </p:sp>
      <p:sp>
        <p:nvSpPr>
          <p:cNvPr id="7" name="Slide Number Placeholder 3"/>
          <p:cNvSpPr txBox="1">
            <a:spLocks/>
          </p:cNvSpPr>
          <p:nvPr/>
        </p:nvSpPr>
        <p:spPr>
          <a:xfrm>
            <a:off x="4581727" y="6507348"/>
            <a:ext cx="2788877" cy="357947"/>
          </a:xfrm>
          <a:prstGeom prst="rect">
            <a:avLst/>
          </a:prstGeom>
        </p:spPr>
        <p:txBody>
          <a:bodyPr vert="horz" lIns="179285" tIns="44821" rIns="179285" bIns="44821"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48193">
              <a:defRPr/>
            </a:pPr>
            <a:r>
              <a:rPr lang="en-US" sz="98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19647777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Locking Hint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91568"/>
            <a:ext cx="10880726" cy="4736196"/>
          </a:xfrm>
        </p:spPr>
        <p:txBody>
          <a:bodyPr/>
          <a:lstStyle/>
          <a:p>
            <a:r>
              <a:rPr lang="en-US" dirty="0"/>
              <a:t>Override the default behavior of the query optimizer</a:t>
            </a:r>
          </a:p>
          <a:p>
            <a:r>
              <a:rPr lang="en-US" dirty="0"/>
              <a:t>Table hints are specified in the </a:t>
            </a:r>
            <a:r>
              <a:rPr lang="en-US" b="1" dirty="0"/>
              <a:t>FROM clause </a:t>
            </a:r>
            <a:r>
              <a:rPr lang="en-US" dirty="0"/>
              <a:t>of the DML statement </a:t>
            </a:r>
          </a:p>
          <a:p>
            <a:r>
              <a:rPr lang="en-US" dirty="0"/>
              <a:t>Affect only the table or view referenced in that clause</a:t>
            </a:r>
          </a:p>
          <a:p>
            <a:r>
              <a:rPr lang="en-US" dirty="0"/>
              <a:t>Locking method can be used at various levels as shown below</a:t>
            </a:r>
          </a:p>
          <a:p>
            <a:endParaRPr lang="en-US" dirty="0"/>
          </a:p>
        </p:txBody>
      </p:sp>
      <p:graphicFrame>
        <p:nvGraphicFramePr>
          <p:cNvPr id="7" name="Table 7">
            <a:extLst>
              <a:ext uri="{FF2B5EF4-FFF2-40B4-BE49-F238E27FC236}">
                <a16:creationId xmlns:a16="http://schemas.microsoft.com/office/drawing/2014/main" id="{56D24B17-3A7B-4181-8A4D-3354636838CD}"/>
              </a:ext>
            </a:extLst>
          </p:cNvPr>
          <p:cNvGraphicFramePr>
            <a:graphicFrameLocks noGrp="1"/>
          </p:cNvGraphicFramePr>
          <p:nvPr>
            <p:extLst>
              <p:ext uri="{D42A27DB-BD31-4B8C-83A1-F6EECF244321}">
                <p14:modId xmlns:p14="http://schemas.microsoft.com/office/powerpoint/2010/main" val="1794816191"/>
              </p:ext>
            </p:extLst>
          </p:nvPr>
        </p:nvGraphicFramePr>
        <p:xfrm>
          <a:off x="1228436" y="3464352"/>
          <a:ext cx="9144000" cy="2763412"/>
        </p:xfrm>
        <a:graphic>
          <a:graphicData uri="http://schemas.openxmlformats.org/drawingml/2006/table">
            <a:tbl>
              <a:tblPr firstRow="1" bandRow="1">
                <a:tableStyleId>{F5AB1C69-6EDB-4FF4-983F-18BD219EF322}</a:tableStyleId>
              </a:tblPr>
              <a:tblGrid>
                <a:gridCol w="2514600">
                  <a:extLst>
                    <a:ext uri="{9D8B030D-6E8A-4147-A177-3AD203B41FA5}">
                      <a16:colId xmlns:a16="http://schemas.microsoft.com/office/drawing/2014/main" val="299956989"/>
                    </a:ext>
                  </a:extLst>
                </a:gridCol>
                <a:gridCol w="6629400">
                  <a:extLst>
                    <a:ext uri="{9D8B030D-6E8A-4147-A177-3AD203B41FA5}">
                      <a16:colId xmlns:a16="http://schemas.microsoft.com/office/drawing/2014/main" val="547889748"/>
                    </a:ext>
                  </a:extLst>
                </a:gridCol>
              </a:tblGrid>
              <a:tr h="345728">
                <a:tc>
                  <a:txBody>
                    <a:bodyPr/>
                    <a:lstStyle/>
                    <a:p>
                      <a:pPr marL="0" algn="l" defTabSz="914400" rtl="0" eaLnBrk="1" latinLnBrk="0" hangingPunct="1"/>
                      <a:endParaRPr lang="en-US" sz="1800" kern="1200" dirty="0">
                        <a:solidFill>
                          <a:schemeClr val="dk1"/>
                        </a:solidFill>
                        <a:latin typeface="+mn-lt"/>
                        <a:ea typeface="+mn-ea"/>
                        <a:cs typeface="+mn-cs"/>
                      </a:endParaRPr>
                    </a:p>
                  </a:txBody>
                  <a:tcPr/>
                </a:tc>
                <a:tc>
                  <a:txBody>
                    <a:bodyPr/>
                    <a:lstStyle/>
                    <a:p>
                      <a:pPr marL="0" algn="l" defTabSz="914400" rtl="0" eaLnBrk="1" latinLnBrk="0" hangingPunct="1"/>
                      <a:endParaRPr lang="en-US" sz="1800" kern="1200" dirty="0">
                        <a:solidFill>
                          <a:schemeClr val="dk1"/>
                        </a:solidFill>
                        <a:latin typeface="+mn-lt"/>
                        <a:ea typeface="+mn-ea"/>
                        <a:cs typeface="+mn-cs"/>
                      </a:endParaRPr>
                    </a:p>
                  </a:txBody>
                  <a:tcPr/>
                </a:tc>
                <a:extLst>
                  <a:ext uri="{0D108BD9-81ED-4DB2-BD59-A6C34878D82A}">
                    <a16:rowId xmlns:a16="http://schemas.microsoft.com/office/drawing/2014/main" val="1368198596"/>
                  </a:ext>
                </a:extLst>
              </a:tr>
              <a:tr h="596736">
                <a:tc>
                  <a:txBody>
                    <a:bodyPr/>
                    <a:lstStyle/>
                    <a:p>
                      <a:r>
                        <a:rPr lang="en-US" sz="1800" b="1" dirty="0"/>
                        <a:t>Granularity Level hints</a:t>
                      </a:r>
                    </a:p>
                  </a:txBody>
                  <a:tcPr/>
                </a:tc>
                <a:tc>
                  <a:txBody>
                    <a:bodyPr/>
                    <a:lstStyle/>
                    <a:p>
                      <a:r>
                        <a:rPr lang="en-US" sz="1800" dirty="0"/>
                        <a:t>ROWLOCK, PAGLOCK and TABLOCK</a:t>
                      </a:r>
                    </a:p>
                  </a:txBody>
                  <a:tcPr/>
                </a:tc>
                <a:extLst>
                  <a:ext uri="{0D108BD9-81ED-4DB2-BD59-A6C34878D82A}">
                    <a16:rowId xmlns:a16="http://schemas.microsoft.com/office/drawing/2014/main" val="4021687689"/>
                  </a:ext>
                </a:extLst>
              </a:tr>
              <a:tr h="660292">
                <a:tc>
                  <a:txBody>
                    <a:bodyPr/>
                    <a:lstStyle/>
                    <a:p>
                      <a:r>
                        <a:rPr lang="en-US" sz="1800" b="1" dirty="0"/>
                        <a:t>Isolation LEVEL hints</a:t>
                      </a:r>
                    </a:p>
                  </a:txBody>
                  <a:tcPr/>
                </a:tc>
                <a:tc>
                  <a:txBody>
                    <a:bodyPr/>
                    <a:lstStyle/>
                    <a:p>
                      <a:r>
                        <a:rPr lang="en-US" sz="1800" dirty="0"/>
                        <a:t>HOLDLOCK/SERIALIZABLE, NOLOCK/ READUNCOMMITTED,</a:t>
                      </a:r>
                    </a:p>
                    <a:p>
                      <a:r>
                        <a:rPr lang="en-US" sz="1800" kern="1200" dirty="0">
                          <a:solidFill>
                            <a:schemeClr val="tx1"/>
                          </a:solidFill>
                        </a:rPr>
                        <a:t>READCOMMITTED,REPEATABLEREAD, </a:t>
                      </a:r>
                      <a:r>
                        <a:rPr lang="en-US" sz="1800" dirty="0">
                          <a:solidFill>
                            <a:schemeClr val="tx1"/>
                          </a:solidFill>
                        </a:rPr>
                        <a:t>READCOMMITTED</a:t>
                      </a:r>
                      <a:endParaRPr lang="en-US" sz="1800" dirty="0"/>
                    </a:p>
                  </a:txBody>
                  <a:tcPr/>
                </a:tc>
                <a:extLst>
                  <a:ext uri="{0D108BD9-81ED-4DB2-BD59-A6C34878D82A}">
                    <a16:rowId xmlns:a16="http://schemas.microsoft.com/office/drawing/2014/main" val="144342435"/>
                  </a:ext>
                </a:extLst>
              </a:tr>
              <a:tr h="345728">
                <a:tc>
                  <a:txBody>
                    <a:bodyPr/>
                    <a:lstStyle/>
                    <a:p>
                      <a:r>
                        <a:rPr lang="en-US" sz="1800" b="1" dirty="0"/>
                        <a:t>UPDLOCK</a:t>
                      </a:r>
                    </a:p>
                  </a:txBody>
                  <a:tcPr/>
                </a:tc>
                <a:tc>
                  <a:txBody>
                    <a:bodyPr/>
                    <a:lstStyle/>
                    <a:p>
                      <a:r>
                        <a:rPr lang="en-US" sz="1800" dirty="0"/>
                        <a:t>Use update lock rather than shared lock when reading</a:t>
                      </a:r>
                    </a:p>
                  </a:txBody>
                  <a:tcPr/>
                </a:tc>
                <a:extLst>
                  <a:ext uri="{0D108BD9-81ED-4DB2-BD59-A6C34878D82A}">
                    <a16:rowId xmlns:a16="http://schemas.microsoft.com/office/drawing/2014/main" val="522866789"/>
                  </a:ext>
                </a:extLst>
              </a:tr>
              <a:tr h="345728">
                <a:tc>
                  <a:txBody>
                    <a:bodyPr/>
                    <a:lstStyle/>
                    <a:p>
                      <a:r>
                        <a:rPr lang="en-US" sz="1800" b="1" kern="1200" dirty="0">
                          <a:solidFill>
                            <a:schemeClr val="tx1"/>
                          </a:solidFill>
                        </a:rPr>
                        <a:t>XLOCK</a:t>
                      </a:r>
                      <a:endParaRPr lang="en-US" sz="1800" b="1" dirty="0"/>
                    </a:p>
                  </a:txBody>
                  <a:tcPr/>
                </a:tc>
                <a:tc>
                  <a:txBody>
                    <a:bodyPr/>
                    <a:lstStyle/>
                    <a:p>
                      <a:r>
                        <a:rPr lang="en-US" sz="1800" dirty="0"/>
                        <a:t>Use exclusive lock instead</a:t>
                      </a:r>
                    </a:p>
                  </a:txBody>
                  <a:tcPr/>
                </a:tc>
                <a:extLst>
                  <a:ext uri="{0D108BD9-81ED-4DB2-BD59-A6C34878D82A}">
                    <a16:rowId xmlns:a16="http://schemas.microsoft.com/office/drawing/2014/main" val="2356148000"/>
                  </a:ext>
                </a:extLst>
              </a:tr>
              <a:tr h="345728">
                <a:tc>
                  <a:txBody>
                    <a:bodyPr/>
                    <a:lstStyle/>
                    <a:p>
                      <a:r>
                        <a:rPr lang="en-US" sz="1800" b="1" dirty="0"/>
                        <a:t>READPAST</a:t>
                      </a:r>
                    </a:p>
                  </a:txBody>
                  <a:tcPr/>
                </a:tc>
                <a:tc>
                  <a:txBody>
                    <a:bodyPr/>
                    <a:lstStyle/>
                    <a:p>
                      <a:r>
                        <a:rPr lang="en-US" sz="1800" dirty="0"/>
                        <a:t>Skips currently locked rows</a:t>
                      </a:r>
                    </a:p>
                  </a:txBody>
                  <a:tcPr/>
                </a:tc>
                <a:extLst>
                  <a:ext uri="{0D108BD9-81ED-4DB2-BD59-A6C34878D82A}">
                    <a16:rowId xmlns:a16="http://schemas.microsoft.com/office/drawing/2014/main" val="2032436737"/>
                  </a:ext>
                </a:extLst>
              </a:tr>
            </a:tbl>
          </a:graphicData>
        </a:graphic>
      </p:graphicFrame>
    </p:spTree>
    <p:extLst>
      <p:ext uri="{BB962C8B-B14F-4D97-AF65-F5344CB8AC3E}">
        <p14:creationId xmlns:p14="http://schemas.microsoft.com/office/powerpoint/2010/main" val="6655999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SQL Server Multi-granular locking</a:t>
            </a:r>
          </a:p>
          <a:p>
            <a:pPr marL="342900" indent="-342900">
              <a:buFont typeface="Arial" panose="020B0604020202020204" pitchFamily="34" charset="0"/>
              <a:buChar char="•"/>
            </a:pPr>
            <a:r>
              <a:rPr lang="en-US" dirty="0"/>
              <a:t>Using DMVs to obtain lock information</a:t>
            </a:r>
          </a:p>
          <a:p>
            <a:pPr marL="342900" indent="-342900">
              <a:buFont typeface="Arial" panose="020B0604020202020204" pitchFamily="34" charset="0"/>
              <a:buChar char="•"/>
            </a:pPr>
            <a:r>
              <a:rPr lang="en-US" dirty="0"/>
              <a:t>Using Extended Events to capture Lock Escal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23410018"/>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6133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4: Delayed Transaction Durability </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Learn how to leverage Delayed durability</a:t>
            </a:r>
          </a:p>
          <a:p>
            <a:r>
              <a:rPr lang="en-US" dirty="0"/>
              <a:t>Risks involved, and options to mitigate</a:t>
            </a:r>
          </a:p>
          <a:p>
            <a:r>
              <a:rPr lang="en-US" dirty="0"/>
              <a:t>Use cas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3" name="Content Placeholder 2">
            <a:extLst>
              <a:ext uri="{FF2B5EF4-FFF2-40B4-BE49-F238E27FC236}">
                <a16:creationId xmlns:a16="http://schemas.microsoft.com/office/drawing/2014/main" id="{2424CBED-40D5-4768-8ADE-FB07AF72083A}"/>
              </a:ext>
            </a:extLst>
          </p:cNvPr>
          <p:cNvGraphicFramePr>
            <a:graphicFrameLocks noGrp="1"/>
          </p:cNvGraphicFramePr>
          <p:nvPr>
            <p:ph sz="quarter" idx="13"/>
            <p:extLst>
              <p:ext uri="{D42A27DB-BD31-4B8C-83A1-F6EECF244321}">
                <p14:modId xmlns:p14="http://schemas.microsoft.com/office/powerpoint/2010/main" val="2944199664"/>
              </p:ext>
            </p:extLst>
          </p:nvPr>
        </p:nvGraphicFramePr>
        <p:xfrm>
          <a:off x="655639" y="1408114"/>
          <a:ext cx="330290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1914391239"/>
              </p:ext>
            </p:extLst>
          </p:nvPr>
        </p:nvGraphicFramePr>
        <p:xfrm>
          <a:off x="4247909" y="1408114"/>
          <a:ext cx="7288451" cy="48196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95934-6017-4EBF-9EFA-A72556437BE2}"/>
              </a:ext>
            </a:extLst>
          </p:cNvPr>
          <p:cNvSpPr>
            <a:spLocks noGrp="1"/>
          </p:cNvSpPr>
          <p:nvPr>
            <p:ph type="title"/>
          </p:nvPr>
        </p:nvSpPr>
        <p:spPr/>
        <p:txBody>
          <a:bodyPr/>
          <a:lstStyle/>
          <a:p>
            <a:r>
              <a:rPr lang="en-US" dirty="0"/>
              <a:t>Delayed durability</a:t>
            </a:r>
          </a:p>
        </p:txBody>
      </p:sp>
      <p:sp>
        <p:nvSpPr>
          <p:cNvPr id="4" name="Content Placeholder 3">
            <a:extLst>
              <a:ext uri="{FF2B5EF4-FFF2-40B4-BE49-F238E27FC236}">
                <a16:creationId xmlns:a16="http://schemas.microsoft.com/office/drawing/2014/main" id="{98B9BDCF-4EA8-43B4-83C6-79FFD7EB6433}"/>
              </a:ext>
            </a:extLst>
          </p:cNvPr>
          <p:cNvSpPr>
            <a:spLocks noGrp="1"/>
          </p:cNvSpPr>
          <p:nvPr>
            <p:ph sz="quarter" idx="13"/>
          </p:nvPr>
        </p:nvSpPr>
        <p:spPr/>
        <p:txBody>
          <a:bodyPr/>
          <a:lstStyle/>
          <a:p>
            <a:r>
              <a:rPr lang="en-US" dirty="0"/>
              <a:t>Returns control to the client application before the transaction log buffer is flushed. Transaction commits logged asynchronously.</a:t>
            </a:r>
          </a:p>
          <a:p>
            <a:r>
              <a:rPr lang="en-US" dirty="0"/>
              <a:t>Slight risk of data loss if the server were to crash before the transaction log buffer is flushed.</a:t>
            </a:r>
          </a:p>
          <a:p>
            <a:r>
              <a:rPr lang="en-US" dirty="0"/>
              <a:t>Works on both disk-based and memory-optimized tables.</a:t>
            </a:r>
          </a:p>
          <a:p>
            <a:endParaRPr lang="en-US" dirty="0"/>
          </a:p>
          <a:p>
            <a:endParaRPr lang="en-US" dirty="0"/>
          </a:p>
        </p:txBody>
      </p:sp>
      <p:sp>
        <p:nvSpPr>
          <p:cNvPr id="6" name="TextBox 5">
            <a:extLst>
              <a:ext uri="{FF2B5EF4-FFF2-40B4-BE49-F238E27FC236}">
                <a16:creationId xmlns:a16="http://schemas.microsoft.com/office/drawing/2014/main" id="{86C6B81C-8A57-43AE-8FBD-96E1ADA571B3}"/>
              </a:ext>
            </a:extLst>
          </p:cNvPr>
          <p:cNvSpPr txBox="1"/>
          <p:nvPr/>
        </p:nvSpPr>
        <p:spPr>
          <a:xfrm>
            <a:off x="655636" y="3657171"/>
            <a:ext cx="4983164" cy="1957459"/>
          </a:xfrm>
          <a:prstGeom prst="rect">
            <a:avLst/>
          </a:prstGeom>
          <a:solidFill>
            <a:schemeClr val="bg1">
              <a:lumMod val="95000"/>
            </a:schemeClr>
          </a:solidFill>
        </p:spPr>
        <p:txBody>
          <a:bodyPr wrap="square" lIns="182880" tIns="146304" rIns="182880" bIns="146304" rtlCol="0">
            <a:spAutoFit/>
          </a:bodyPr>
          <a:lstStyle/>
          <a:p>
            <a:pPr>
              <a:lnSpc>
                <a:spcPct val="100000"/>
              </a:lnSpc>
            </a:pPr>
            <a:r>
              <a:rPr lang="en-US" dirty="0">
                <a:solidFill>
                  <a:srgbClr val="0000FF"/>
                </a:solidFill>
                <a:latin typeface="Consolas" panose="020B0609020204030204" pitchFamily="49" charset="0"/>
              </a:rPr>
              <a:t>BEGIN</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TRANSACTION</a:t>
            </a:r>
            <a:r>
              <a:rPr lang="en-US" dirty="0">
                <a:solidFill>
                  <a:prstClr val="black"/>
                </a:solidFill>
                <a:latin typeface="Consolas" panose="020B0609020204030204" pitchFamily="49" charset="0"/>
              </a:rPr>
              <a:t> </a:t>
            </a:r>
          </a:p>
          <a:p>
            <a:pPr>
              <a:lnSpc>
                <a:spcPct val="100000"/>
              </a:lnSpc>
            </a:pPr>
            <a:r>
              <a:rPr lang="en-US" dirty="0">
                <a:solidFill>
                  <a:srgbClr val="FF00FF"/>
                </a:solidFill>
                <a:latin typeface="Consolas" panose="020B0609020204030204" pitchFamily="49" charset="0"/>
              </a:rPr>
              <a:t>UPDATE</a:t>
            </a:r>
            <a:r>
              <a:rPr lang="en-US" dirty="0">
                <a:solidFill>
                  <a:prstClr val="black"/>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Address</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SET</a:t>
            </a:r>
            <a:r>
              <a:rPr lang="en-US" dirty="0">
                <a:solidFill>
                  <a:prstClr val="black"/>
                </a:solidFill>
                <a:latin typeface="Consolas" panose="020B0609020204030204" pitchFamily="49" charset="0"/>
              </a:rPr>
              <a:t> C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FF0000"/>
                </a:solidFill>
                <a:latin typeface="Consolas" panose="020B0609020204030204" pitchFamily="49" charset="0"/>
              </a:rPr>
              <a:t>'NY'</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WHERE</a:t>
            </a:r>
            <a:r>
              <a:rPr lang="en-US" dirty="0">
                <a:solidFill>
                  <a:prstClr val="black"/>
                </a:solidFill>
                <a:latin typeface="Consolas" panose="020B0609020204030204" pitchFamily="49" charset="0"/>
              </a:rPr>
              <a:t> C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FF0000"/>
                </a:solidFill>
                <a:latin typeface="Consolas" panose="020B0609020204030204" pitchFamily="49" charset="0"/>
              </a:rPr>
              <a:t>'New York'</a:t>
            </a:r>
            <a:endParaRPr lang="en-US" dirty="0">
              <a:solidFill>
                <a:prstClr val="black"/>
              </a:solidFill>
              <a:latin typeface="Consolas" panose="020B0609020204030204" pitchFamily="49" charset="0"/>
            </a:endParaRPr>
          </a:p>
          <a:p>
            <a:pPr>
              <a:lnSpc>
                <a:spcPct val="100000"/>
              </a:lnSpc>
            </a:pPr>
            <a:r>
              <a:rPr lang="en-US" dirty="0">
                <a:solidFill>
                  <a:srgbClr val="0000FF"/>
                </a:solidFill>
                <a:latin typeface="Consolas" panose="020B0609020204030204" pitchFamily="49" charset="0"/>
              </a:rPr>
              <a:t>COMMI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TRANSACTION</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WITH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DELAYED_DURABILITY</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ON</a:t>
            </a:r>
            <a:r>
              <a:rPr lang="en-US" dirty="0">
                <a:solidFill>
                  <a:srgbClr val="808080"/>
                </a:solidFill>
                <a:latin typeface="Consolas" panose="020B0609020204030204" pitchFamily="49" charset="0"/>
              </a:rPr>
              <a:t>)</a:t>
            </a:r>
          </a:p>
        </p:txBody>
      </p:sp>
      <p:sp>
        <p:nvSpPr>
          <p:cNvPr id="8" name="TextBox 7">
            <a:extLst>
              <a:ext uri="{FF2B5EF4-FFF2-40B4-BE49-F238E27FC236}">
                <a16:creationId xmlns:a16="http://schemas.microsoft.com/office/drawing/2014/main" id="{E28BC56E-A5B0-4E95-84BE-4B2724ED3F7A}"/>
              </a:ext>
            </a:extLst>
          </p:cNvPr>
          <p:cNvSpPr txBox="1"/>
          <p:nvPr/>
        </p:nvSpPr>
        <p:spPr>
          <a:xfrm>
            <a:off x="6265862" y="3657171"/>
            <a:ext cx="5257800" cy="1680460"/>
          </a:xfrm>
          <a:prstGeom prst="rect">
            <a:avLst/>
          </a:prstGeom>
          <a:solidFill>
            <a:schemeClr val="bg1">
              <a:lumMod val="95000"/>
            </a:schemeClr>
          </a:solidFill>
        </p:spPr>
        <p:txBody>
          <a:bodyPr wrap="square" lIns="182880" tIns="146304" rIns="182880" bIns="146304" rtlCol="0">
            <a:spAutoFit/>
          </a:bodyPr>
          <a:lstStyle/>
          <a:p>
            <a:r>
              <a:rPr lang="en-US" dirty="0"/>
              <a:t>Database level setting allows the behavior:</a:t>
            </a:r>
          </a:p>
          <a:p>
            <a:endParaRPr lang="en-US" dirty="0">
              <a:solidFill>
                <a:schemeClr val="bg1"/>
              </a:solidFill>
            </a:endParaRPr>
          </a:p>
          <a:p>
            <a:r>
              <a:rPr lang="en-US" dirty="0">
                <a:solidFill>
                  <a:srgbClr val="0000FF"/>
                </a:solidFill>
                <a:latin typeface="Consolas" panose="020B0609020204030204" pitchFamily="49" charset="0"/>
              </a:rPr>
              <a:t>ALTER</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DATABASE</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lt;</a:t>
            </a:r>
            <a:r>
              <a:rPr lang="en-US" dirty="0">
                <a:solidFill>
                  <a:srgbClr val="FF00FF"/>
                </a:solidFill>
                <a:latin typeface="Consolas" panose="020B0609020204030204" pitchFamily="49" charset="0"/>
              </a:rPr>
              <a:t>Db_Name</a:t>
            </a:r>
            <a:r>
              <a:rPr lang="en-US" dirty="0">
                <a:solidFill>
                  <a:srgbClr val="808080"/>
                </a:solidFill>
                <a:latin typeface="Consolas" panose="020B0609020204030204" pitchFamily="49" charset="0"/>
              </a:rPr>
              <a:t>&gt;</a:t>
            </a:r>
            <a:endParaRPr lang="en-US" dirty="0">
              <a:solidFill>
                <a:prstClr val="black"/>
              </a:solidFill>
              <a:latin typeface="Consolas" panose="020B0609020204030204" pitchFamily="49" charset="0"/>
            </a:endParaRPr>
          </a:p>
          <a:p>
            <a:r>
              <a:rPr lang="en-US" dirty="0">
                <a:solidFill>
                  <a:srgbClr val="0000FF"/>
                </a:solidFill>
                <a:latin typeface="Consolas" panose="020B0609020204030204" pitchFamily="49" charset="0"/>
              </a:rPr>
              <a:t>SET</a:t>
            </a:r>
            <a:r>
              <a:rPr lang="en-US" dirty="0">
                <a:solidFill>
                  <a:prstClr val="black"/>
                </a:solidFill>
                <a:latin typeface="Consolas" panose="020B0609020204030204" pitchFamily="49" charset="0"/>
              </a:rPr>
              <a:t> DELAYED_DURABILITY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DISABLED </a:t>
            </a:r>
            <a:r>
              <a:rPr lang="en-US" dirty="0">
                <a:solidFill>
                  <a:srgbClr val="808080"/>
                </a:solidFill>
                <a:latin typeface="Consolas" panose="020B0609020204030204" pitchFamily="49" charset="0"/>
              </a:rPr>
              <a:t>(</a:t>
            </a:r>
            <a:r>
              <a:rPr lang="en-US" dirty="0">
                <a:solidFill>
                  <a:srgbClr val="0000FF"/>
                </a:solidFill>
                <a:latin typeface="Consolas" panose="020B0609020204030204" pitchFamily="49" charset="0"/>
              </a:rPr>
              <a:t>default</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LLOWED </a:t>
            </a:r>
            <a:r>
              <a:rPr lang="en-US" dirty="0">
                <a:solidFill>
                  <a:srgbClr val="808080"/>
                </a:solidFill>
                <a:latin typeface="Consolas" panose="020B0609020204030204" pitchFamily="49" charset="0"/>
              </a:rPr>
              <a:t>|</a:t>
            </a:r>
            <a:r>
              <a:rPr lang="en-US" dirty="0">
                <a:solidFill>
                  <a:prstClr val="black"/>
                </a:solidFill>
                <a:latin typeface="Consolas" panose="020B0609020204030204" pitchFamily="49" charset="0"/>
              </a:rPr>
              <a:t> </a:t>
            </a:r>
            <a:r>
              <a:rPr lang="en-US" dirty="0">
                <a:solidFill>
                  <a:srgbClr val="0000FF"/>
                </a:solidFill>
                <a:latin typeface="Consolas" panose="020B0609020204030204" pitchFamily="49" charset="0"/>
              </a:rPr>
              <a:t>FORCED</a:t>
            </a:r>
            <a:r>
              <a:rPr lang="en-US" dirty="0">
                <a:solidFill>
                  <a:prstClr val="black"/>
                </a:solidFill>
                <a:latin typeface="Consolas" panose="020B0609020204030204" pitchFamily="49" charset="0"/>
              </a:rPr>
              <a:t> </a:t>
            </a:r>
            <a:r>
              <a:rPr lang="en-US" dirty="0">
                <a:solidFill>
                  <a:srgbClr val="808080"/>
                </a:solidFill>
                <a:latin typeface="Consolas" panose="020B0609020204030204" pitchFamily="49" charset="0"/>
              </a:rPr>
              <a:t>}</a:t>
            </a:r>
            <a:endParaRPr lang="en-US" dirty="0">
              <a:solidFill>
                <a:schemeClr val="bg1"/>
              </a:solidFill>
            </a:endParaRPr>
          </a:p>
        </p:txBody>
      </p:sp>
      <p:graphicFrame>
        <p:nvGraphicFramePr>
          <p:cNvPr id="10" name="Diagram 9">
            <a:extLst>
              <a:ext uri="{FF2B5EF4-FFF2-40B4-BE49-F238E27FC236}">
                <a16:creationId xmlns:a16="http://schemas.microsoft.com/office/drawing/2014/main" id="{70968EFE-D801-442A-BE10-826BCBFED0D9}"/>
              </a:ext>
            </a:extLst>
          </p:cNvPr>
          <p:cNvGraphicFramePr/>
          <p:nvPr/>
        </p:nvGraphicFramePr>
        <p:xfrm>
          <a:off x="642938" y="5722263"/>
          <a:ext cx="10880724" cy="770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54397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62EC3-1097-4746-975F-4FA1BB2FE1AC}"/>
              </a:ext>
            </a:extLst>
          </p:cNvPr>
          <p:cNvSpPr>
            <a:spLocks noGrp="1"/>
          </p:cNvSpPr>
          <p:nvPr>
            <p:ph type="title"/>
          </p:nvPr>
        </p:nvSpPr>
        <p:spPr/>
        <p:txBody>
          <a:bodyPr/>
          <a:lstStyle/>
          <a:p>
            <a:r>
              <a:rPr lang="en-US" dirty="0"/>
              <a:t>When to use delayed transaction durability</a:t>
            </a:r>
          </a:p>
        </p:txBody>
      </p:sp>
      <p:graphicFrame>
        <p:nvGraphicFramePr>
          <p:cNvPr id="5" name="Content Placeholder 4">
            <a:extLst>
              <a:ext uri="{FF2B5EF4-FFF2-40B4-BE49-F238E27FC236}">
                <a16:creationId xmlns:a16="http://schemas.microsoft.com/office/drawing/2014/main" id="{EE1313F9-7B12-4D52-B0D3-4624768F7EEF}"/>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851676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D9E7A-9528-492C-80D0-E4F6837C6A5D}"/>
              </a:ext>
            </a:extLst>
          </p:cNvPr>
          <p:cNvSpPr>
            <a:spLocks noGrp="1"/>
          </p:cNvSpPr>
          <p:nvPr>
            <p:ph type="title"/>
          </p:nvPr>
        </p:nvSpPr>
        <p:spPr/>
        <p:txBody>
          <a:bodyPr/>
          <a:lstStyle/>
          <a:p>
            <a:r>
              <a:rPr lang="en-US" dirty="0"/>
              <a:t>Delayed Durability</a:t>
            </a:r>
          </a:p>
        </p:txBody>
      </p:sp>
      <p:graphicFrame>
        <p:nvGraphicFramePr>
          <p:cNvPr id="5" name="Content Placeholder 4">
            <a:extLst>
              <a:ext uri="{FF2B5EF4-FFF2-40B4-BE49-F238E27FC236}">
                <a16:creationId xmlns:a16="http://schemas.microsoft.com/office/drawing/2014/main" id="{B3F00977-3ED8-4826-A0B4-9C1ACFF50218}"/>
              </a:ext>
            </a:extLst>
          </p:cNvPr>
          <p:cNvGraphicFramePr>
            <a:graphicFrameLocks noGrp="1"/>
          </p:cNvGraphicFramePr>
          <p:nvPr>
            <p:ph sz="quarter" idx="13"/>
            <p:extLst>
              <p:ext uri="{D42A27DB-BD31-4B8C-83A1-F6EECF244321}">
                <p14:modId xmlns:p14="http://schemas.microsoft.com/office/powerpoint/2010/main" val="230868800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9E782462-F17D-4951-B6ED-A231ABE35517}"/>
              </a:ext>
            </a:extLst>
          </p:cNvPr>
          <p:cNvGraphicFramePr/>
          <p:nvPr/>
        </p:nvGraphicFramePr>
        <p:xfrm>
          <a:off x="646369" y="6071617"/>
          <a:ext cx="10880725" cy="76350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0446641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A5191-CE52-4574-9BD8-F8E72C575508}"/>
              </a:ext>
            </a:extLst>
          </p:cNvPr>
          <p:cNvSpPr>
            <a:spLocks noGrp="1"/>
          </p:cNvSpPr>
          <p:nvPr>
            <p:ph type="title"/>
          </p:nvPr>
        </p:nvSpPr>
        <p:spPr/>
        <p:txBody>
          <a:bodyPr/>
          <a:lstStyle/>
          <a:p>
            <a:r>
              <a:rPr lang="en-US" dirty="0"/>
              <a:t>Transaction Logging (Delayed Durability)</a:t>
            </a:r>
          </a:p>
        </p:txBody>
      </p:sp>
      <p:sp>
        <p:nvSpPr>
          <p:cNvPr id="5" name="Text Placeholder 15">
            <a:extLst>
              <a:ext uri="{FF2B5EF4-FFF2-40B4-BE49-F238E27FC236}">
                <a16:creationId xmlns:a16="http://schemas.microsoft.com/office/drawing/2014/main" id="{21F2C19F-4A90-4CAE-A326-CCB80C3E4285}"/>
              </a:ext>
            </a:extLst>
          </p:cNvPr>
          <p:cNvSpPr txBox="1">
            <a:spLocks/>
          </p:cNvSpPr>
          <p:nvPr/>
        </p:nvSpPr>
        <p:spPr>
          <a:xfrm>
            <a:off x="406400" y="1143000"/>
            <a:ext cx="11176000" cy="4953000"/>
          </a:xfrm>
          <a:prstGeom prst="rect">
            <a:avLst/>
          </a:prstGeom>
        </p:spPr>
        <p:txBody>
          <a:bodyPr vert="horz" lIns="91440" tIns="45720" rIns="91440" bIns="45720" rtlCol="0">
            <a:normAutofit/>
          </a:bodyPr>
          <a:lstStyle>
            <a:lvl1pPr marL="0" indent="0" eaLnBrk="1" hangingPunct="1">
              <a:lnSpc>
                <a:spcPct val="100000"/>
              </a:lnSpc>
              <a:spcBef>
                <a:spcPts val="300"/>
              </a:spcBef>
              <a:buFontTx/>
              <a:buNone/>
              <a:defRPr sz="2400" baseline="0">
                <a:solidFill>
                  <a:srgbClr val="3F3F3F"/>
                </a:solidFill>
                <a:latin typeface="Segoe UI Light" pitchFamily="34" charset="0"/>
                <a:cs typeface="Segoe Pro Light"/>
              </a:defRPr>
            </a:lvl1pPr>
            <a:lvl2pPr eaLnBrk="1" hangingPunct="1">
              <a:lnSpc>
                <a:spcPct val="120000"/>
              </a:lnSpc>
              <a:defRPr sz="1400">
                <a:solidFill>
                  <a:srgbClr val="FFFFFF"/>
                </a:solidFill>
                <a:latin typeface="+mn-lt"/>
                <a:cs typeface="Segoe Pro Light"/>
              </a:defRPr>
            </a:lvl2pPr>
            <a:lvl3pPr eaLnBrk="1" hangingPunct="1">
              <a:lnSpc>
                <a:spcPct val="120000"/>
              </a:lnSpc>
              <a:defRPr sz="1400">
                <a:solidFill>
                  <a:srgbClr val="FFFFFF"/>
                </a:solidFill>
                <a:latin typeface="+mn-lt"/>
                <a:cs typeface="Segoe Pro Light"/>
              </a:defRPr>
            </a:lvl3pPr>
            <a:lvl4pPr eaLnBrk="1" hangingPunct="1">
              <a:lnSpc>
                <a:spcPct val="120000"/>
              </a:lnSpc>
              <a:defRPr sz="1400">
                <a:solidFill>
                  <a:srgbClr val="FFFFFF"/>
                </a:solidFill>
                <a:latin typeface="+mn-lt"/>
                <a:cs typeface="Segoe Pro Light"/>
              </a:defRPr>
            </a:lvl4pPr>
            <a:lvl5pPr eaLnBrk="1" hangingPunct="1">
              <a:lnSpc>
                <a:spcPct val="120000"/>
              </a:lnSpc>
              <a:defRPr sz="1400">
                <a:solidFill>
                  <a:srgbClr val="FFFFFF"/>
                </a:solidFill>
                <a:latin typeface="+mn-lt"/>
                <a:cs typeface="Segoe Pro Light"/>
              </a:defRPr>
            </a:lvl5pPr>
          </a:lstStyle>
          <a:p>
            <a:pPr marL="0" marR="0" lvl="0" indent="0" defTabSz="914400" eaLnBrk="1" fontAlgn="auto" latinLnBrk="0" hangingPunct="1">
              <a:lnSpc>
                <a:spcPct val="100000"/>
              </a:lnSpc>
              <a:spcBef>
                <a:spcPts val="300"/>
              </a:spcBef>
              <a:spcAft>
                <a:spcPts val="0"/>
              </a:spcAft>
              <a:buClrTx/>
              <a:buSzTx/>
              <a:buFontTx/>
              <a:buNone/>
              <a:tabLst/>
              <a:defRPr/>
            </a:pPr>
            <a:endParaRPr kumimoji="0" lang="en-US" sz="2400" b="0" i="0" u="none" strike="noStrike" kern="0" cap="none" spc="0" normalizeH="0" baseline="0" noProof="0" dirty="0">
              <a:ln>
                <a:noFill/>
              </a:ln>
              <a:solidFill>
                <a:srgbClr val="3F3F3F"/>
              </a:solidFill>
              <a:effectLst/>
              <a:uLnTx/>
              <a:uFillTx/>
              <a:latin typeface="Segoe UI Light" pitchFamily="34" charset="0"/>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sz="2400" b="0" i="0" u="none" strike="noStrike" kern="0" cap="none" spc="0" normalizeH="0" baseline="0" noProof="0" dirty="0">
              <a:ln>
                <a:noFill/>
              </a:ln>
              <a:solidFill>
                <a:srgbClr val="3F3F3F"/>
              </a:solidFill>
              <a:effectLst/>
              <a:uLnTx/>
              <a:uFillTx/>
              <a:latin typeface="Segoe UI Light" pitchFamily="34" charset="0"/>
            </a:endParaRPr>
          </a:p>
        </p:txBody>
      </p:sp>
      <p:sp>
        <p:nvSpPr>
          <p:cNvPr id="6" name="Rectangle 5">
            <a:extLst>
              <a:ext uri="{FF2B5EF4-FFF2-40B4-BE49-F238E27FC236}">
                <a16:creationId xmlns:a16="http://schemas.microsoft.com/office/drawing/2014/main" id="{01D56715-3616-4CEF-99F6-D205D9E24A6C}"/>
              </a:ext>
            </a:extLst>
          </p:cNvPr>
          <p:cNvSpPr/>
          <p:nvPr/>
        </p:nvSpPr>
        <p:spPr>
          <a:xfrm>
            <a:off x="538747" y="14859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cord the begin Transaction in the Log Buffer</a:t>
            </a:r>
          </a:p>
        </p:txBody>
      </p:sp>
      <p:sp>
        <p:nvSpPr>
          <p:cNvPr id="7" name="Rectangle 6">
            <a:extLst>
              <a:ext uri="{FF2B5EF4-FFF2-40B4-BE49-F238E27FC236}">
                <a16:creationId xmlns:a16="http://schemas.microsoft.com/office/drawing/2014/main" id="{444B5593-DABB-42A5-892F-7C0D6FCA172F}"/>
              </a:ext>
            </a:extLst>
          </p:cNvPr>
          <p:cNvSpPr/>
          <p:nvPr/>
        </p:nvSpPr>
        <p:spPr>
          <a:xfrm>
            <a:off x="4183647" y="14859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sz="1600" kern="0" dirty="0">
                <a:solidFill>
                  <a:sysClr val="windowText" lastClr="000000"/>
                </a:solidFill>
                <a:cs typeface="Segoe UI" panose="020B0502040204020203" pitchFamily="34" charset="0"/>
              </a:rPr>
              <a:t>Log the Data Modification Language DML operation in the Log Buffer (INS/UPD/DEL)</a:t>
            </a:r>
          </a:p>
        </p:txBody>
      </p:sp>
      <p:sp>
        <p:nvSpPr>
          <p:cNvPr id="8" name="Rectangle 7">
            <a:extLst>
              <a:ext uri="{FF2B5EF4-FFF2-40B4-BE49-F238E27FC236}">
                <a16:creationId xmlns:a16="http://schemas.microsoft.com/office/drawing/2014/main" id="{AC1CE6AB-0CD9-4C10-BAEC-99A21AA0292B}"/>
              </a:ext>
            </a:extLst>
          </p:cNvPr>
          <p:cNvSpPr/>
          <p:nvPr/>
        </p:nvSpPr>
        <p:spPr>
          <a:xfrm>
            <a:off x="7828547" y="1371600"/>
            <a:ext cx="3733800" cy="14478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ad the Data/Index Pages and perform the operation in memory. </a:t>
            </a:r>
          </a:p>
        </p:txBody>
      </p:sp>
      <p:sp>
        <p:nvSpPr>
          <p:cNvPr id="9" name="Rectangle 8">
            <a:extLst>
              <a:ext uri="{FF2B5EF4-FFF2-40B4-BE49-F238E27FC236}">
                <a16:creationId xmlns:a16="http://schemas.microsoft.com/office/drawing/2014/main" id="{5DA13BCA-DA09-48C7-B14F-EF1BAED06EB8}"/>
              </a:ext>
            </a:extLst>
          </p:cNvPr>
          <p:cNvSpPr/>
          <p:nvPr/>
        </p:nvSpPr>
        <p:spPr>
          <a:xfrm>
            <a:off x="6533147" y="3522760"/>
            <a:ext cx="2439504" cy="666401"/>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Commit the Transaction</a:t>
            </a:r>
          </a:p>
        </p:txBody>
      </p:sp>
      <p:sp>
        <p:nvSpPr>
          <p:cNvPr id="10" name="Rectangle 9">
            <a:extLst>
              <a:ext uri="{FF2B5EF4-FFF2-40B4-BE49-F238E27FC236}">
                <a16:creationId xmlns:a16="http://schemas.microsoft.com/office/drawing/2014/main" id="{42E3ACC1-073A-4CC6-A465-B15C526025EE}"/>
              </a:ext>
            </a:extLst>
          </p:cNvPr>
          <p:cNvSpPr/>
          <p:nvPr/>
        </p:nvSpPr>
        <p:spPr>
          <a:xfrm>
            <a:off x="8940800" y="5012267"/>
            <a:ext cx="2641600" cy="799402"/>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port the transaction success to the user</a:t>
            </a:r>
          </a:p>
        </p:txBody>
      </p:sp>
      <p:sp>
        <p:nvSpPr>
          <p:cNvPr id="11" name="Rectangle 10">
            <a:extLst>
              <a:ext uri="{FF2B5EF4-FFF2-40B4-BE49-F238E27FC236}">
                <a16:creationId xmlns:a16="http://schemas.microsoft.com/office/drawing/2014/main" id="{A3EF40FD-907F-4FAA-9973-978636E085EA}"/>
              </a:ext>
            </a:extLst>
          </p:cNvPr>
          <p:cNvSpPr/>
          <p:nvPr/>
        </p:nvSpPr>
        <p:spPr>
          <a:xfrm>
            <a:off x="665747" y="4950882"/>
            <a:ext cx="2641600" cy="1070686"/>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If LDF flush fails, Data Loss may happen during Recovery</a:t>
            </a:r>
          </a:p>
        </p:txBody>
      </p:sp>
      <p:sp>
        <p:nvSpPr>
          <p:cNvPr id="12" name="Rectangle 11">
            <a:extLst>
              <a:ext uri="{FF2B5EF4-FFF2-40B4-BE49-F238E27FC236}">
                <a16:creationId xmlns:a16="http://schemas.microsoft.com/office/drawing/2014/main" id="{73603219-C880-4546-BFA6-AA0C30EAB0B1}"/>
              </a:ext>
            </a:extLst>
          </p:cNvPr>
          <p:cNvSpPr/>
          <p:nvPr/>
        </p:nvSpPr>
        <p:spPr>
          <a:xfrm>
            <a:off x="2669034" y="3314700"/>
            <a:ext cx="2439504" cy="935334"/>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Flush to LDF (Asynchronously) </a:t>
            </a:r>
          </a:p>
        </p:txBody>
      </p:sp>
      <p:cxnSp>
        <p:nvCxnSpPr>
          <p:cNvPr id="13" name="Elbow Connector 47">
            <a:extLst>
              <a:ext uri="{FF2B5EF4-FFF2-40B4-BE49-F238E27FC236}">
                <a16:creationId xmlns:a16="http://schemas.microsoft.com/office/drawing/2014/main" id="{A0DD1D9C-3EB7-4031-912A-0C36ACDD3AE5}"/>
              </a:ext>
            </a:extLst>
          </p:cNvPr>
          <p:cNvCxnSpPr>
            <a:stCxn id="6" idx="3"/>
            <a:endCxn id="7" idx="1"/>
          </p:cNvCxnSpPr>
          <p:nvPr/>
        </p:nvCxnSpPr>
        <p:spPr>
          <a:xfrm>
            <a:off x="3180347" y="20955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4" name="Elbow Connector 47">
            <a:extLst>
              <a:ext uri="{FF2B5EF4-FFF2-40B4-BE49-F238E27FC236}">
                <a16:creationId xmlns:a16="http://schemas.microsoft.com/office/drawing/2014/main" id="{2EBE5964-FC5C-44F8-9705-6A98DF3E33CF}"/>
              </a:ext>
            </a:extLst>
          </p:cNvPr>
          <p:cNvCxnSpPr>
            <a:stCxn id="7" idx="3"/>
            <a:endCxn id="8" idx="1"/>
          </p:cNvCxnSpPr>
          <p:nvPr/>
        </p:nvCxnSpPr>
        <p:spPr>
          <a:xfrm>
            <a:off x="6825247" y="20955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5" name="Elbow Connector 47">
            <a:extLst>
              <a:ext uri="{FF2B5EF4-FFF2-40B4-BE49-F238E27FC236}">
                <a16:creationId xmlns:a16="http://schemas.microsoft.com/office/drawing/2014/main" id="{07155818-C14F-4D43-A770-93DAB9FD9CF7}"/>
              </a:ext>
            </a:extLst>
          </p:cNvPr>
          <p:cNvCxnSpPr>
            <a:endCxn id="12" idx="3"/>
          </p:cNvCxnSpPr>
          <p:nvPr/>
        </p:nvCxnSpPr>
        <p:spPr>
          <a:xfrm flipH="1">
            <a:off x="5108538" y="3782367"/>
            <a:ext cx="1424609"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6" name="Elbow Connector 47">
            <a:extLst>
              <a:ext uri="{FF2B5EF4-FFF2-40B4-BE49-F238E27FC236}">
                <a16:creationId xmlns:a16="http://schemas.microsoft.com/office/drawing/2014/main" id="{7489E4DB-BC69-4CD4-8D10-4A912D4D829A}"/>
              </a:ext>
            </a:extLst>
          </p:cNvPr>
          <p:cNvCxnSpPr>
            <a:stCxn id="9" idx="2"/>
            <a:endCxn id="10" idx="1"/>
          </p:cNvCxnSpPr>
          <p:nvPr/>
        </p:nvCxnSpPr>
        <p:spPr>
          <a:xfrm rot="16200000" flipH="1">
            <a:off x="7735446" y="4206613"/>
            <a:ext cx="1222807" cy="1187901"/>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7" name="Elbow Connector 29">
            <a:extLst>
              <a:ext uri="{FF2B5EF4-FFF2-40B4-BE49-F238E27FC236}">
                <a16:creationId xmlns:a16="http://schemas.microsoft.com/office/drawing/2014/main" id="{4AF7E07C-BCB9-4B7F-A58D-EF2C2536EE13}"/>
              </a:ext>
            </a:extLst>
          </p:cNvPr>
          <p:cNvCxnSpPr>
            <a:stCxn id="11" idx="3"/>
            <a:endCxn id="12" idx="2"/>
          </p:cNvCxnSpPr>
          <p:nvPr/>
        </p:nvCxnSpPr>
        <p:spPr>
          <a:xfrm flipV="1">
            <a:off x="3307347" y="4250034"/>
            <a:ext cx="581439" cy="1236191"/>
          </a:xfrm>
          <a:prstGeom prst="bentConnector2">
            <a:avLst/>
          </a:prstGeom>
          <a:noFill/>
          <a:ln w="57150" cap="flat" cmpd="sng" algn="ctr">
            <a:solidFill>
              <a:srgbClr val="0A5BBA"/>
            </a:solidFill>
            <a:prstDash val="solid"/>
            <a:headEnd type="triangle"/>
            <a:tailEnd type="triangle"/>
          </a:ln>
          <a:effectLst>
            <a:outerShdw blurRad="40000" dist="20000" dir="5400000" rotWithShape="0">
              <a:srgbClr val="000000">
                <a:alpha val="38000"/>
              </a:srgbClr>
            </a:outerShdw>
          </a:effectLst>
        </p:spPr>
      </p:cxnSp>
      <p:cxnSp>
        <p:nvCxnSpPr>
          <p:cNvPr id="18" name="Elbow Connector 30">
            <a:extLst>
              <a:ext uri="{FF2B5EF4-FFF2-40B4-BE49-F238E27FC236}">
                <a16:creationId xmlns:a16="http://schemas.microsoft.com/office/drawing/2014/main" id="{04D15636-A3B6-4EF9-B110-060BE2C38E76}"/>
              </a:ext>
            </a:extLst>
          </p:cNvPr>
          <p:cNvCxnSpPr>
            <a:stCxn id="8" idx="2"/>
            <a:endCxn id="9" idx="3"/>
          </p:cNvCxnSpPr>
          <p:nvPr/>
        </p:nvCxnSpPr>
        <p:spPr>
          <a:xfrm rot="5400000">
            <a:off x="8815769" y="2976282"/>
            <a:ext cx="1036561" cy="722796"/>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3445907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layed durability and other SQL Server features</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19578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layed durability and other SQL Server features</a:t>
            </a:r>
          </a:p>
        </p:txBody>
      </p:sp>
      <p:graphicFrame>
        <p:nvGraphicFramePr>
          <p:cNvPr id="8" name="Content Placeholder 7">
            <a:extLst>
              <a:ext uri="{FF2B5EF4-FFF2-40B4-BE49-F238E27FC236}">
                <a16:creationId xmlns:a16="http://schemas.microsoft.com/office/drawing/2014/main" id="{F2F3C940-AD7F-4BDC-B54E-5C35FE27C4CC}"/>
              </a:ext>
            </a:extLst>
          </p:cNvPr>
          <p:cNvGraphicFramePr>
            <a:graphicFrameLocks noGrp="1"/>
          </p:cNvGraphicFramePr>
          <p:nvPr>
            <p:ph sz="quarter" idx="13"/>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81546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352429329"/>
              </p:ext>
            </p:extLst>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246311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698162" cy="604798"/>
          </a:xfrm>
        </p:spPr>
        <p:txBody>
          <a:bodyPr/>
          <a:lstStyle/>
          <a:p>
            <a:r>
              <a:rPr lang="fr-FR" dirty="0"/>
              <a:t>Lesson 4: Troubleshooting Concurrency Performanc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sson,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locking concepts.</a:t>
            </a:r>
          </a:p>
          <a:p>
            <a:r>
              <a:rPr lang="en-US" dirty="0"/>
              <a:t>Troubleshoot blocking problems.</a:t>
            </a:r>
          </a:p>
          <a:p>
            <a:r>
              <a:rPr lang="en-US" dirty="0"/>
              <a:t>Explain deadlock concepts.</a:t>
            </a:r>
          </a:p>
          <a:p>
            <a:r>
              <a:rPr lang="en-US" dirty="0"/>
              <a:t>Monitor, analyze and resolve deadlock occurrenc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1663533120"/>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Blocking</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a:bodyPr>
          <a:lstStyle/>
          <a:p>
            <a:r>
              <a:rPr lang="en-US" dirty="0"/>
              <a:t>Blocking is an unavoidable characteristic of any RDBMS with lock-based concurrency.</a:t>
            </a:r>
          </a:p>
          <a:p>
            <a:endParaRPr lang="en-US" dirty="0"/>
          </a:p>
        </p:txBody>
      </p:sp>
      <p:graphicFrame>
        <p:nvGraphicFramePr>
          <p:cNvPr id="5" name="Content Placeholder 4">
            <a:extLst>
              <a:ext uri="{FF2B5EF4-FFF2-40B4-BE49-F238E27FC236}">
                <a16:creationId xmlns:a16="http://schemas.microsoft.com/office/drawing/2014/main" id="{394F3E58-5465-452F-B8FC-E2E1075F7D8D}"/>
              </a:ext>
            </a:extLst>
          </p:cNvPr>
          <p:cNvGraphicFramePr>
            <a:graphicFrameLocks noGrp="1"/>
          </p:cNvGraphicFramePr>
          <p:nvPr>
            <p:ph sz="quarter" idx="13"/>
            <p:extLst>
              <p:ext uri="{D42A27DB-BD31-4B8C-83A1-F6EECF244321}">
                <p14:modId xmlns:p14="http://schemas.microsoft.com/office/powerpoint/2010/main" val="303050009"/>
              </p:ext>
            </p:extLst>
          </p:nvPr>
        </p:nvGraphicFramePr>
        <p:xfrm>
          <a:off x="655637" y="3739074"/>
          <a:ext cx="10880725" cy="2346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5" name="Group 44">
            <a:extLst>
              <a:ext uri="{FF2B5EF4-FFF2-40B4-BE49-F238E27FC236}">
                <a16:creationId xmlns:a16="http://schemas.microsoft.com/office/drawing/2014/main" id="{DF9E5182-29AC-4D14-9584-C5A81C4F780A}"/>
              </a:ext>
            </a:extLst>
          </p:cNvPr>
          <p:cNvGrpSpPr/>
          <p:nvPr/>
        </p:nvGrpSpPr>
        <p:grpSpPr>
          <a:xfrm>
            <a:off x="3766016" y="1600200"/>
            <a:ext cx="4659965" cy="1828800"/>
            <a:chOff x="3048000" y="1405882"/>
            <a:chExt cx="4659965" cy="1828800"/>
          </a:xfrm>
        </p:grpSpPr>
        <p:pic>
          <p:nvPicPr>
            <p:cNvPr id="10" name="Graphic 9" descr="Table">
              <a:extLst>
                <a:ext uri="{FF2B5EF4-FFF2-40B4-BE49-F238E27FC236}">
                  <a16:creationId xmlns:a16="http://schemas.microsoft.com/office/drawing/2014/main" id="{5BFF3204-DBB8-4FBA-BA32-63D897AAB1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31365" y="1405882"/>
              <a:ext cx="1828800" cy="1251195"/>
            </a:xfrm>
            <a:prstGeom prst="rect">
              <a:avLst/>
            </a:prstGeom>
          </p:spPr>
        </p:pic>
        <p:sp>
          <p:nvSpPr>
            <p:cNvPr id="36" name="TextBox 35">
              <a:extLst>
                <a:ext uri="{FF2B5EF4-FFF2-40B4-BE49-F238E27FC236}">
                  <a16:creationId xmlns:a16="http://schemas.microsoft.com/office/drawing/2014/main" id="{5FCA33A1-E882-41C9-AE93-1961A04803A7}"/>
                </a:ext>
              </a:extLst>
            </p:cNvPr>
            <p:cNvSpPr txBox="1"/>
            <p:nvPr/>
          </p:nvSpPr>
          <p:spPr>
            <a:xfrm>
              <a:off x="4690925" y="1488341"/>
              <a:ext cx="1309679" cy="15284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EMPLOYEE Table</a:t>
              </a:r>
            </a:p>
          </p:txBody>
        </p:sp>
        <p:grpSp>
          <p:nvGrpSpPr>
            <p:cNvPr id="41" name="Group 40">
              <a:extLst>
                <a:ext uri="{FF2B5EF4-FFF2-40B4-BE49-F238E27FC236}">
                  <a16:creationId xmlns:a16="http://schemas.microsoft.com/office/drawing/2014/main" id="{6B12BFB4-DCE2-4704-93E2-E71FDD09B6B7}"/>
                </a:ext>
              </a:extLst>
            </p:cNvPr>
            <p:cNvGrpSpPr/>
            <p:nvPr/>
          </p:nvGrpSpPr>
          <p:grpSpPr>
            <a:xfrm>
              <a:off x="3048000" y="1501695"/>
              <a:ext cx="4659965" cy="1732987"/>
              <a:chOff x="2883835" y="3352801"/>
              <a:chExt cx="4659965" cy="2093772"/>
            </a:xfrm>
          </p:grpSpPr>
          <p:pic>
            <p:nvPicPr>
              <p:cNvPr id="6" name="Picture 5">
                <a:extLst>
                  <a:ext uri="{FF2B5EF4-FFF2-40B4-BE49-F238E27FC236}">
                    <a16:creationId xmlns:a16="http://schemas.microsoft.com/office/drawing/2014/main" id="{25062EBC-1C30-4A26-8B26-D05DB6527B32}"/>
                  </a:ext>
                </a:extLst>
              </p:cNvPr>
              <p:cNvPicPr>
                <a:picLocks noChangeAspect="1"/>
              </p:cNvPicPr>
              <p:nvPr/>
            </p:nvPicPr>
            <p:blipFill>
              <a:blip r:embed="rId10"/>
              <a:stretch>
                <a:fillRect/>
              </a:stretch>
            </p:blipFill>
            <p:spPr>
              <a:xfrm>
                <a:off x="2883835" y="4463096"/>
                <a:ext cx="885825" cy="942975"/>
              </a:xfrm>
              <a:prstGeom prst="rect">
                <a:avLst/>
              </a:prstGeom>
              <a:solidFill>
                <a:srgbClr val="2D4A75"/>
              </a:solidFill>
            </p:spPr>
          </p:pic>
          <p:pic>
            <p:nvPicPr>
              <p:cNvPr id="7" name="Picture 6">
                <a:extLst>
                  <a:ext uri="{FF2B5EF4-FFF2-40B4-BE49-F238E27FC236}">
                    <a16:creationId xmlns:a16="http://schemas.microsoft.com/office/drawing/2014/main" id="{89113B95-47C8-4FC4-A52E-ED5B810D27BF}"/>
                  </a:ext>
                </a:extLst>
              </p:cNvPr>
              <p:cNvPicPr>
                <a:picLocks noChangeAspect="1"/>
              </p:cNvPicPr>
              <p:nvPr/>
            </p:nvPicPr>
            <p:blipFill>
              <a:blip r:embed="rId10"/>
              <a:stretch>
                <a:fillRect/>
              </a:stretch>
            </p:blipFill>
            <p:spPr>
              <a:xfrm>
                <a:off x="6657975" y="4503598"/>
                <a:ext cx="885825" cy="942975"/>
              </a:xfrm>
              <a:prstGeom prst="rect">
                <a:avLst/>
              </a:prstGeom>
              <a:solidFill>
                <a:srgbClr val="2D4A75"/>
              </a:solidFill>
            </p:spPr>
          </p:pic>
          <p:cxnSp>
            <p:nvCxnSpPr>
              <p:cNvPr id="12" name="Connector: Elbow 11">
                <a:extLst>
                  <a:ext uri="{FF2B5EF4-FFF2-40B4-BE49-F238E27FC236}">
                    <a16:creationId xmlns:a16="http://schemas.microsoft.com/office/drawing/2014/main" id="{7B0EB48B-256E-4614-8E31-B2918C291D56}"/>
                  </a:ext>
                </a:extLst>
              </p:cNvPr>
              <p:cNvCxnSpPr>
                <a:cxnSpLocks/>
                <a:stCxn id="6" idx="0"/>
              </p:cNvCxnSpPr>
              <p:nvPr/>
            </p:nvCxnSpPr>
            <p:spPr>
              <a:xfrm rot="5400000" flipH="1" flipV="1">
                <a:off x="3599026" y="3665540"/>
                <a:ext cx="525279" cy="1069835"/>
              </a:xfrm>
              <a:prstGeom prst="bentConnector2">
                <a:avLst/>
              </a:prstGeom>
              <a:ln w="63500">
                <a:headEnd type="none" w="lg" len="med"/>
                <a:tailEnd type="triangle"/>
              </a:ln>
            </p:spPr>
            <p:style>
              <a:lnRef idx="1">
                <a:schemeClr val="accent4"/>
              </a:lnRef>
              <a:fillRef idx="0">
                <a:schemeClr val="accent4"/>
              </a:fillRef>
              <a:effectRef idx="0">
                <a:schemeClr val="accent4"/>
              </a:effectRef>
              <a:fontRef idx="minor">
                <a:schemeClr val="tx1"/>
              </a:fontRef>
            </p:style>
          </p:cxnSp>
          <p:cxnSp>
            <p:nvCxnSpPr>
              <p:cNvPr id="14" name="Connector: Elbow 13">
                <a:extLst>
                  <a:ext uri="{FF2B5EF4-FFF2-40B4-BE49-F238E27FC236}">
                    <a16:creationId xmlns:a16="http://schemas.microsoft.com/office/drawing/2014/main" id="{82C19473-0AA4-4ED3-BE83-6AA62FD1738D}"/>
                  </a:ext>
                </a:extLst>
              </p:cNvPr>
              <p:cNvCxnSpPr>
                <a:cxnSpLocks/>
                <a:stCxn id="7" idx="0"/>
              </p:cNvCxnSpPr>
              <p:nvPr/>
            </p:nvCxnSpPr>
            <p:spPr>
              <a:xfrm rot="16200000" flipV="1">
                <a:off x="6288544" y="3691254"/>
                <a:ext cx="543600" cy="1081088"/>
              </a:xfrm>
              <a:prstGeom prst="bentConnector2">
                <a:avLst/>
              </a:prstGeom>
              <a:ln w="63500">
                <a:headEnd type="none" w="lg" len="lg"/>
                <a:tailEnd type="triangle"/>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3210B190-270B-463C-BC1B-F94360A6AF5A}"/>
                  </a:ext>
                </a:extLst>
              </p:cNvPr>
              <p:cNvCxnSpPr>
                <a:cxnSpLocks/>
              </p:cNvCxnSpPr>
              <p:nvPr/>
            </p:nvCxnSpPr>
            <p:spPr>
              <a:xfrm>
                <a:off x="6019800" y="3550920"/>
                <a:ext cx="0" cy="868680"/>
              </a:xfrm>
              <a:prstGeom prst="line">
                <a:avLst/>
              </a:prstGeom>
              <a:ln w="10160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C3D27-D773-49FA-BBD1-D04E14A74A1D}"/>
                  </a:ext>
                </a:extLst>
              </p:cNvPr>
              <p:cNvSpPr txBox="1"/>
              <p:nvPr/>
            </p:nvSpPr>
            <p:spPr>
              <a:xfrm>
                <a:off x="6334870" y="3704414"/>
                <a:ext cx="1081088"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Blocked</a:t>
                </a:r>
              </a:p>
            </p:txBody>
          </p:sp>
          <p:sp>
            <p:nvSpPr>
              <p:cNvPr id="30" name="TextBox 29">
                <a:extLst>
                  <a:ext uri="{FF2B5EF4-FFF2-40B4-BE49-F238E27FC236}">
                    <a16:creationId xmlns:a16="http://schemas.microsoft.com/office/drawing/2014/main" id="{E18EB47D-7266-4B2A-85F5-1E2DAF9E1FEC}"/>
                  </a:ext>
                </a:extLst>
              </p:cNvPr>
              <p:cNvSpPr txBox="1"/>
              <p:nvPr/>
            </p:nvSpPr>
            <p:spPr>
              <a:xfrm>
                <a:off x="6833566" y="5143189"/>
                <a:ext cx="639417" cy="184666"/>
              </a:xfrm>
              <a:prstGeom prst="rect">
                <a:avLst/>
              </a:prstGeom>
              <a:noFill/>
            </p:spPr>
            <p:txBody>
              <a:bodyPr wrap="square" lIns="0" tIns="0" rIns="0" bIns="0" rtlCol="0">
                <a:spAutoFit/>
              </a:bodyPr>
              <a:lstStyle/>
              <a:p>
                <a:pPr algn="l"/>
                <a:r>
                  <a:rPr lang="en-US" sz="1200" b="1" dirty="0">
                    <a:solidFill>
                      <a:schemeClr val="bg1"/>
                    </a:solidFill>
                  </a:rPr>
                  <a:t>User2 </a:t>
                </a:r>
              </a:p>
            </p:txBody>
          </p:sp>
          <p:sp>
            <p:nvSpPr>
              <p:cNvPr id="32" name="TextBox 31">
                <a:extLst>
                  <a:ext uri="{FF2B5EF4-FFF2-40B4-BE49-F238E27FC236}">
                    <a16:creationId xmlns:a16="http://schemas.microsoft.com/office/drawing/2014/main" id="{F359F84C-4DFB-401F-8415-8E04B7D52366}"/>
                  </a:ext>
                </a:extLst>
              </p:cNvPr>
              <p:cNvSpPr txBox="1"/>
              <p:nvPr/>
            </p:nvSpPr>
            <p:spPr>
              <a:xfrm>
                <a:off x="3487786" y="3691346"/>
                <a:ext cx="845344" cy="184667"/>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Locked</a:t>
                </a:r>
              </a:p>
            </p:txBody>
          </p:sp>
          <p:sp>
            <p:nvSpPr>
              <p:cNvPr id="34" name="TextBox 33">
                <a:extLst>
                  <a:ext uri="{FF2B5EF4-FFF2-40B4-BE49-F238E27FC236}">
                    <a16:creationId xmlns:a16="http://schemas.microsoft.com/office/drawing/2014/main" id="{0A07542E-3F02-4DBC-A6F0-8D9C42A547FF}"/>
                  </a:ext>
                </a:extLst>
              </p:cNvPr>
              <p:cNvSpPr txBox="1"/>
              <p:nvPr/>
            </p:nvSpPr>
            <p:spPr>
              <a:xfrm>
                <a:off x="2997270" y="5143189"/>
                <a:ext cx="639417" cy="184666"/>
              </a:xfrm>
              <a:prstGeom prst="rect">
                <a:avLst/>
              </a:prstGeom>
              <a:noFill/>
            </p:spPr>
            <p:txBody>
              <a:bodyPr wrap="square" lIns="0" tIns="0" rIns="0" bIns="0" rtlCol="0">
                <a:spAutoFit/>
              </a:bodyPr>
              <a:lstStyle/>
              <a:p>
                <a:pPr algn="l"/>
                <a:r>
                  <a:rPr lang="en-US" sz="1200" b="1" dirty="0">
                    <a:solidFill>
                      <a:schemeClr val="bg1"/>
                    </a:solidFill>
                  </a:rPr>
                  <a:t>User 1</a:t>
                </a:r>
              </a:p>
            </p:txBody>
          </p:sp>
          <p:sp>
            <p:nvSpPr>
              <p:cNvPr id="35" name="TextBox 34">
                <a:extLst>
                  <a:ext uri="{FF2B5EF4-FFF2-40B4-BE49-F238E27FC236}">
                    <a16:creationId xmlns:a16="http://schemas.microsoft.com/office/drawing/2014/main" id="{D52012ED-E89B-4299-80BB-3CA2109A1182}"/>
                  </a:ext>
                </a:extLst>
              </p:cNvPr>
              <p:cNvSpPr txBox="1"/>
              <p:nvPr/>
            </p:nvSpPr>
            <p:spPr>
              <a:xfrm>
                <a:off x="5715000" y="4441492"/>
                <a:ext cx="1081088" cy="184666"/>
              </a:xfrm>
              <a:prstGeom prst="rect">
                <a:avLst/>
              </a:prstGeom>
              <a:noFill/>
            </p:spPr>
            <p:txBody>
              <a:bodyPr wrap="square" lIns="0" tIns="0" rIns="0" bIns="0" rtlCol="0">
                <a:spAutoFit/>
              </a:bodyPr>
              <a:lstStyle/>
              <a:p>
                <a:pPr algn="l"/>
                <a:r>
                  <a:rPr lang="en-US" sz="1200" b="1" dirty="0">
                    <a:solidFill>
                      <a:srgbClr val="E49564"/>
                    </a:solidFill>
                  </a:rPr>
                  <a:t>Waiting</a:t>
                </a:r>
              </a:p>
            </p:txBody>
          </p:sp>
          <p:sp>
            <p:nvSpPr>
              <p:cNvPr id="39" name="TextBox 38">
                <a:extLst>
                  <a:ext uri="{FF2B5EF4-FFF2-40B4-BE49-F238E27FC236}">
                    <a16:creationId xmlns:a16="http://schemas.microsoft.com/office/drawing/2014/main" id="{45E136C4-593E-4D2E-97D7-54397EFD0A6F}"/>
                  </a:ext>
                </a:extLst>
              </p:cNvPr>
              <p:cNvSpPr txBox="1"/>
              <p:nvPr/>
            </p:nvSpPr>
            <p:spPr>
              <a:xfrm rot="16200000">
                <a:off x="6682323"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2</a:t>
                </a:r>
              </a:p>
            </p:txBody>
          </p:sp>
          <p:sp>
            <p:nvSpPr>
              <p:cNvPr id="40" name="TextBox 39">
                <a:extLst>
                  <a:ext uri="{FF2B5EF4-FFF2-40B4-BE49-F238E27FC236}">
                    <a16:creationId xmlns:a16="http://schemas.microsoft.com/office/drawing/2014/main" id="{271A6A7C-9535-48AE-95E8-4166C4C7B088}"/>
                  </a:ext>
                </a:extLst>
              </p:cNvPr>
              <p:cNvSpPr txBox="1"/>
              <p:nvPr/>
            </p:nvSpPr>
            <p:spPr>
              <a:xfrm rot="16200000">
                <a:off x="2652712" y="3801012"/>
                <a:ext cx="1081088" cy="184666"/>
              </a:xfrm>
              <a:prstGeom prst="rect">
                <a:avLst/>
              </a:prstGeom>
              <a:noFill/>
            </p:spPr>
            <p:txBody>
              <a:bodyPr wrap="square" lIns="0" tIns="0" rIns="0" bIns="0" rtlCol="0">
                <a:spAutoFit/>
              </a:bodyPr>
              <a:lstStyle/>
              <a:p>
                <a:pPr algn="l"/>
                <a:r>
                  <a:rPr lang="en-US" sz="1200" b="1" dirty="0">
                    <a:gradFill>
                      <a:gsLst>
                        <a:gs pos="2917">
                          <a:schemeClr val="tx1"/>
                        </a:gs>
                        <a:gs pos="30000">
                          <a:schemeClr val="tx1"/>
                        </a:gs>
                      </a:gsLst>
                      <a:lin ang="5400000" scaled="0"/>
                    </a:gradFill>
                  </a:rPr>
                  <a:t>Tran 1</a:t>
                </a:r>
              </a:p>
            </p:txBody>
          </p:sp>
        </p:grpSp>
        <p:sp>
          <p:nvSpPr>
            <p:cNvPr id="44" name="TextBox 43">
              <a:extLst>
                <a:ext uri="{FF2B5EF4-FFF2-40B4-BE49-F238E27FC236}">
                  <a16:creationId xmlns:a16="http://schemas.microsoft.com/office/drawing/2014/main" id="{31868371-54A8-43B8-9BD2-0B4C01D5A4A4}"/>
                </a:ext>
              </a:extLst>
            </p:cNvPr>
            <p:cNvSpPr txBox="1"/>
            <p:nvPr/>
          </p:nvSpPr>
          <p:spPr>
            <a:xfrm>
              <a:off x="3914287" y="2942474"/>
              <a:ext cx="2907853" cy="215444"/>
            </a:xfrm>
            <a:prstGeom prst="rect">
              <a:avLst/>
            </a:prstGeom>
            <a:noFill/>
          </p:spPr>
          <p:txBody>
            <a:bodyPr wrap="square" lIns="0" tIns="0" rIns="0" bIns="0" rtlCol="0">
              <a:spAutoFit/>
            </a:bodyPr>
            <a:lstStyle/>
            <a:p>
              <a:pPr algn="ctr"/>
              <a:r>
                <a:rPr lang="en-US" sz="1400" b="1" dirty="0">
                  <a:solidFill>
                    <a:schemeClr val="tx2"/>
                  </a:solidFill>
                </a:rPr>
                <a:t>Blocking scenario in SQL Server</a:t>
              </a:r>
            </a:p>
          </p:txBody>
        </p:sp>
      </p:grpSp>
    </p:spTree>
    <p:extLst>
      <p:ext uri="{BB962C8B-B14F-4D97-AF65-F5344CB8AC3E}">
        <p14:creationId xmlns:p14="http://schemas.microsoft.com/office/powerpoint/2010/main" val="22589587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ommon Blocking Scenarios and Resolution</a:t>
            </a:r>
          </a:p>
        </p:txBody>
      </p:sp>
      <p:graphicFrame>
        <p:nvGraphicFramePr>
          <p:cNvPr id="5" name="Content Placeholder 4">
            <a:extLst>
              <a:ext uri="{FF2B5EF4-FFF2-40B4-BE49-F238E27FC236}">
                <a16:creationId xmlns:a16="http://schemas.microsoft.com/office/drawing/2014/main" id="{8BBE1247-23A6-4CED-B467-BAD792BD638A}"/>
              </a:ext>
            </a:extLst>
          </p:cNvPr>
          <p:cNvGraphicFramePr>
            <a:graphicFrameLocks noGrp="1"/>
          </p:cNvGraphicFramePr>
          <p:nvPr>
            <p:ph sz="quarter" idx="13"/>
            <p:extLst>
              <p:ext uri="{D42A27DB-BD31-4B8C-83A1-F6EECF244321}">
                <p14:modId xmlns:p14="http://schemas.microsoft.com/office/powerpoint/2010/main" val="2475467160"/>
              </p:ext>
            </p:extLst>
          </p:nvPr>
        </p:nvGraphicFramePr>
        <p:xfrm>
          <a:off x="655638" y="1408114"/>
          <a:ext cx="10880726" cy="4177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74554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tecting Compile Blocking</a:t>
            </a:r>
          </a:p>
        </p:txBody>
      </p:sp>
      <p:graphicFrame>
        <p:nvGraphicFramePr>
          <p:cNvPr id="6" name="Content Placeholder 5">
            <a:extLst>
              <a:ext uri="{FF2B5EF4-FFF2-40B4-BE49-F238E27FC236}">
                <a16:creationId xmlns:a16="http://schemas.microsoft.com/office/drawing/2014/main" id="{2072DECC-51F0-4925-A511-938EBEC7013B}"/>
              </a:ext>
            </a:extLst>
          </p:cNvPr>
          <p:cNvGraphicFramePr>
            <a:graphicFrameLocks noGrp="1"/>
          </p:cNvGraphicFramePr>
          <p:nvPr>
            <p:ph sz="quarter" idx="13"/>
            <p:extLst>
              <p:ext uri="{D42A27DB-BD31-4B8C-83A1-F6EECF244321}">
                <p14:modId xmlns:p14="http://schemas.microsoft.com/office/powerpoint/2010/main" val="205859666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0323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inimizing Blocking</a:t>
            </a:r>
          </a:p>
        </p:txBody>
      </p:sp>
      <p:graphicFrame>
        <p:nvGraphicFramePr>
          <p:cNvPr id="5" name="Content Placeholder 4">
            <a:extLst>
              <a:ext uri="{FF2B5EF4-FFF2-40B4-BE49-F238E27FC236}">
                <a16:creationId xmlns:a16="http://schemas.microsoft.com/office/drawing/2014/main" id="{48AD84B7-A856-46D6-96CD-AD108661DEDF}"/>
              </a:ext>
            </a:extLst>
          </p:cNvPr>
          <p:cNvGraphicFramePr>
            <a:graphicFrameLocks noGrp="1"/>
          </p:cNvGraphicFramePr>
          <p:nvPr>
            <p:ph sz="quarter" idx="13"/>
            <p:extLst>
              <p:ext uri="{D42A27DB-BD31-4B8C-83A1-F6EECF244321}">
                <p14:modId xmlns:p14="http://schemas.microsoft.com/office/powerpoint/2010/main" val="122087176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65016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View lock blocking</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85631386"/>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What is a deadlock?</a:t>
            </a:r>
          </a:p>
        </p:txBody>
      </p:sp>
      <p:graphicFrame>
        <p:nvGraphicFramePr>
          <p:cNvPr id="4" name="Content Placeholder 3">
            <a:extLst>
              <a:ext uri="{FF2B5EF4-FFF2-40B4-BE49-F238E27FC236}">
                <a16:creationId xmlns:a16="http://schemas.microsoft.com/office/drawing/2014/main" id="{5EB67473-B9AC-42FF-84B1-0BB13E3BE1FF}"/>
              </a:ext>
            </a:extLst>
          </p:cNvPr>
          <p:cNvGraphicFramePr>
            <a:graphicFrameLocks noGrp="1"/>
          </p:cNvGraphicFramePr>
          <p:nvPr>
            <p:ph sz="quarter" idx="13"/>
            <p:extLst>
              <p:ext uri="{D42A27DB-BD31-4B8C-83A1-F6EECF244321}">
                <p14:modId xmlns:p14="http://schemas.microsoft.com/office/powerpoint/2010/main" val="4255510878"/>
              </p:ext>
            </p:extLst>
          </p:nvPr>
        </p:nvGraphicFramePr>
        <p:xfrm>
          <a:off x="655638" y="1408113"/>
          <a:ext cx="629600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2" descr="Diagram showing transaction deadlock">
            <a:extLst>
              <a:ext uri="{FF2B5EF4-FFF2-40B4-BE49-F238E27FC236}">
                <a16:creationId xmlns:a16="http://schemas.microsoft.com/office/drawing/2014/main" id="{3D57CE1B-7BB3-4EAE-B8C5-FD9E1DFADA30}"/>
              </a:ext>
            </a:extLst>
          </p:cNvPr>
          <p:cNvPicPr>
            <a:picLocks noChangeAspect="1" noChangeArrowheads="1"/>
          </p:cNvPicPr>
          <p:nvPr/>
        </p:nvPicPr>
        <p:blipFill>
          <a:blip r:embed="rId8" cstate="print"/>
          <a:stretch>
            <a:fillRect/>
          </a:stretch>
        </p:blipFill>
        <p:spPr bwMode="auto">
          <a:xfrm>
            <a:off x="7086600" y="2966623"/>
            <a:ext cx="4449761" cy="1702629"/>
          </a:xfrm>
          <a:prstGeom prst="rect">
            <a:avLst/>
          </a:prstGeom>
          <a:noFill/>
        </p:spPr>
      </p:pic>
    </p:spTree>
    <p:extLst>
      <p:ext uri="{BB962C8B-B14F-4D97-AF65-F5344CB8AC3E}">
        <p14:creationId xmlns:p14="http://schemas.microsoft.com/office/powerpoint/2010/main" val="16351853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solidFill>
                  <a:srgbClr val="44546A"/>
                </a:solidFill>
                <a:latin typeface="Segoe UI Semibold" panose="020B0702040204020203" pitchFamily="34" charset="0"/>
              </a:rPr>
              <a:t>What Is a Deadlock?</a:t>
            </a:r>
          </a:p>
        </p:txBody>
      </p:sp>
      <p:pic>
        <p:nvPicPr>
          <p:cNvPr id="6" name="Picture 2" descr="Diagram showing transaction deadlock"/>
          <p:cNvPicPr>
            <a:picLocks noChangeAspect="1" noChangeArrowheads="1"/>
          </p:cNvPicPr>
          <p:nvPr/>
        </p:nvPicPr>
        <p:blipFill>
          <a:blip r:embed="rId3" cstate="print"/>
          <a:srcRect/>
          <a:stretch>
            <a:fillRect/>
          </a:stretch>
        </p:blipFill>
        <p:spPr bwMode="auto">
          <a:xfrm>
            <a:off x="717452" y="1860257"/>
            <a:ext cx="10516509" cy="3388166"/>
          </a:xfrm>
          <a:prstGeom prst="rect">
            <a:avLst/>
          </a:prstGeom>
          <a:noFill/>
        </p:spPr>
      </p:pic>
    </p:spTree>
    <p:extLst>
      <p:ext uri="{BB962C8B-B14F-4D97-AF65-F5344CB8AC3E}">
        <p14:creationId xmlns:p14="http://schemas.microsoft.com/office/powerpoint/2010/main" val="355836261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Detection and Identification</a:t>
            </a:r>
          </a:p>
        </p:txBody>
      </p:sp>
      <p:graphicFrame>
        <p:nvGraphicFramePr>
          <p:cNvPr id="6" name="Content Placeholder 5">
            <a:extLst>
              <a:ext uri="{FF2B5EF4-FFF2-40B4-BE49-F238E27FC236}">
                <a16:creationId xmlns:a16="http://schemas.microsoft.com/office/drawing/2014/main" id="{46D5AE13-5E29-4E23-A018-44CD309FC5E8}"/>
              </a:ext>
            </a:extLst>
          </p:cNvPr>
          <p:cNvGraphicFramePr>
            <a:graphicFrameLocks noGrp="1"/>
          </p:cNvGraphicFramePr>
          <p:nvPr>
            <p:ph sz="quarter" idx="13"/>
            <p:extLst>
              <p:ext uri="{D42A27DB-BD31-4B8C-83A1-F6EECF244321}">
                <p14:modId xmlns:p14="http://schemas.microsoft.com/office/powerpoint/2010/main" val="378903882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338817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7" name="Subtitle 6">
            <a:extLst>
              <a:ext uri="{FF2B5EF4-FFF2-40B4-BE49-F238E27FC236}">
                <a16:creationId xmlns:a16="http://schemas.microsoft.com/office/drawing/2014/main" id="{F7F423F5-E043-4106-BD6F-6E890018C782}"/>
              </a:ext>
            </a:extLst>
          </p:cNvPr>
          <p:cNvSpPr>
            <a:spLocks noGrp="1"/>
          </p:cNvSpPr>
          <p:nvPr>
            <p:ph type="subTitle" idx="1"/>
          </p:nvPr>
        </p:nvSpPr>
        <p:spPr/>
        <p:txBody>
          <a:bodyPr/>
          <a:lstStyle/>
          <a:p>
            <a:r>
              <a:rPr lang="en-US" dirty="0"/>
              <a:t>Using System Health </a:t>
            </a:r>
            <a:r>
              <a:rPr lang="en-US" dirty="0" err="1"/>
              <a:t>Xevent</a:t>
            </a:r>
            <a:endParaRPr lang="en-US" dirty="0"/>
          </a:p>
          <a:p>
            <a:endParaRPr lang="en-US" dirty="0"/>
          </a:p>
        </p:txBody>
      </p:sp>
      <p:graphicFrame>
        <p:nvGraphicFramePr>
          <p:cNvPr id="8" name="Content Placeholder 7">
            <a:extLst>
              <a:ext uri="{FF2B5EF4-FFF2-40B4-BE49-F238E27FC236}">
                <a16:creationId xmlns:a16="http://schemas.microsoft.com/office/drawing/2014/main" id="{1267059D-2394-456A-8A5B-99E75FF8D9D4}"/>
              </a:ext>
            </a:extLst>
          </p:cNvPr>
          <p:cNvGraphicFramePr>
            <a:graphicFrameLocks noGrp="1"/>
          </p:cNvGraphicFramePr>
          <p:nvPr>
            <p:ph sz="quarter" idx="13"/>
            <p:extLst>
              <p:ext uri="{D42A27DB-BD31-4B8C-83A1-F6EECF244321}">
                <p14:modId xmlns:p14="http://schemas.microsoft.com/office/powerpoint/2010/main" val="268434217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ic flow diagram showing user process deadlock.">
            <a:extLst>
              <a:ext uri="{FF2B5EF4-FFF2-40B4-BE49-F238E27FC236}">
                <a16:creationId xmlns:a16="http://schemas.microsoft.com/office/drawing/2014/main" id="{052E6EDC-A853-4B22-9D30-98649C5AB9CE}"/>
              </a:ext>
            </a:extLst>
          </p:cNvPr>
          <p:cNvPicPr>
            <a:picLocks noChangeAspect="1" noChangeArrowheads="1"/>
          </p:cNvPicPr>
          <p:nvPr/>
        </p:nvPicPr>
        <p:blipFill>
          <a:blip r:embed="rId8" cstate="print"/>
          <a:srcRect/>
          <a:stretch>
            <a:fillRect/>
          </a:stretch>
        </p:blipFill>
        <p:spPr bwMode="auto">
          <a:xfrm>
            <a:off x="1935480" y="3276600"/>
            <a:ext cx="8291930" cy="2607053"/>
          </a:xfrm>
          <a:prstGeom prst="rect">
            <a:avLst/>
          </a:prstGeom>
          <a:noFill/>
          <a:ln w="9525">
            <a:solidFill>
              <a:schemeClr val="bg1">
                <a:lumMod val="75000"/>
              </a:schemeClr>
            </a:solidFill>
            <a:miter lim="800000"/>
            <a:headEnd/>
            <a:tailEnd/>
          </a:ln>
        </p:spPr>
      </p:pic>
    </p:spTree>
    <p:extLst>
      <p:ext uri="{BB962C8B-B14F-4D97-AF65-F5344CB8AC3E}">
        <p14:creationId xmlns:p14="http://schemas.microsoft.com/office/powerpoint/2010/main" val="30275990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eadlock Analysi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Using Trace Flags </a:t>
            </a:r>
          </a:p>
        </p:txBody>
      </p:sp>
      <p:graphicFrame>
        <p:nvGraphicFramePr>
          <p:cNvPr id="6" name="Content Placeholder 5">
            <a:extLst>
              <a:ext uri="{FF2B5EF4-FFF2-40B4-BE49-F238E27FC236}">
                <a16:creationId xmlns:a16="http://schemas.microsoft.com/office/drawing/2014/main" id="{7CA6B8BE-95D4-4114-B614-11B0406EF2D4}"/>
              </a:ext>
            </a:extLst>
          </p:cNvPr>
          <p:cNvGraphicFramePr>
            <a:graphicFrameLocks noGrp="1"/>
          </p:cNvGraphicFramePr>
          <p:nvPr>
            <p:ph sz="quarter" idx="13"/>
            <p:extLst>
              <p:ext uri="{D42A27DB-BD31-4B8C-83A1-F6EECF244321}">
                <p14:modId xmlns:p14="http://schemas.microsoft.com/office/powerpoint/2010/main" val="148016745"/>
              </p:ext>
            </p:extLst>
          </p:nvPr>
        </p:nvGraphicFramePr>
        <p:xfrm>
          <a:off x="655638" y="1408114"/>
          <a:ext cx="10880726" cy="725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a:extLst>
              <a:ext uri="{FF2B5EF4-FFF2-40B4-BE49-F238E27FC236}">
                <a16:creationId xmlns:a16="http://schemas.microsoft.com/office/drawing/2014/main" id="{95AFD022-DC18-4A16-B039-099691844C8B}"/>
              </a:ext>
            </a:extLst>
          </p:cNvPr>
          <p:cNvSpPr txBox="1">
            <a:spLocks/>
          </p:cNvSpPr>
          <p:nvPr/>
        </p:nvSpPr>
        <p:spPr>
          <a:xfrm>
            <a:off x="655638" y="1874456"/>
            <a:ext cx="10880726" cy="4353307"/>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endParaRPr lang="en-US" dirty="0"/>
          </a:p>
        </p:txBody>
      </p:sp>
      <p:sp>
        <p:nvSpPr>
          <p:cNvPr id="9" name="Content Placeholder 3">
            <a:extLst>
              <a:ext uri="{FF2B5EF4-FFF2-40B4-BE49-F238E27FC236}">
                <a16:creationId xmlns:a16="http://schemas.microsoft.com/office/drawing/2014/main" id="{B1D43323-480A-4B86-8836-1F0226B71B24}"/>
              </a:ext>
            </a:extLst>
          </p:cNvPr>
          <p:cNvSpPr txBox="1">
            <a:spLocks/>
          </p:cNvSpPr>
          <p:nvPr/>
        </p:nvSpPr>
        <p:spPr>
          <a:xfrm>
            <a:off x="655638"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22 Example</a:t>
            </a:r>
          </a:p>
          <a:p>
            <a:endParaRPr lang="en-US" dirty="0"/>
          </a:p>
        </p:txBody>
      </p:sp>
      <p:sp>
        <p:nvSpPr>
          <p:cNvPr id="13" name="Content Placeholder 3">
            <a:extLst>
              <a:ext uri="{FF2B5EF4-FFF2-40B4-BE49-F238E27FC236}">
                <a16:creationId xmlns:a16="http://schemas.microsoft.com/office/drawing/2014/main" id="{D1DA6AD0-32F7-4C6F-860C-7E7F9CF827D3}"/>
              </a:ext>
            </a:extLst>
          </p:cNvPr>
          <p:cNvSpPr txBox="1">
            <a:spLocks/>
          </p:cNvSpPr>
          <p:nvPr/>
        </p:nvSpPr>
        <p:spPr>
          <a:xfrm>
            <a:off x="6019800" y="2133600"/>
            <a:ext cx="5516562" cy="4094164"/>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     Trace Flag 1204 Example</a:t>
            </a:r>
          </a:p>
          <a:p>
            <a:endParaRPr lang="en-US" dirty="0"/>
          </a:p>
        </p:txBody>
      </p:sp>
      <p:pic>
        <p:nvPicPr>
          <p:cNvPr id="14" name="Picture 13">
            <a:extLst>
              <a:ext uri="{FF2B5EF4-FFF2-40B4-BE49-F238E27FC236}">
                <a16:creationId xmlns:a16="http://schemas.microsoft.com/office/drawing/2014/main" id="{3FD83BA9-2541-484A-94F9-FF7F48A084FE}"/>
              </a:ext>
            </a:extLst>
          </p:cNvPr>
          <p:cNvPicPr>
            <a:picLocks noChangeAspect="1"/>
          </p:cNvPicPr>
          <p:nvPr/>
        </p:nvPicPr>
        <p:blipFill>
          <a:blip r:embed="rId8"/>
          <a:stretch>
            <a:fillRect/>
          </a:stretch>
        </p:blipFill>
        <p:spPr>
          <a:xfrm>
            <a:off x="6923108" y="2530984"/>
            <a:ext cx="4613254" cy="4006976"/>
          </a:xfrm>
          <a:prstGeom prst="rect">
            <a:avLst/>
          </a:prstGeom>
        </p:spPr>
      </p:pic>
      <p:pic>
        <p:nvPicPr>
          <p:cNvPr id="15" name="Picture 14">
            <a:extLst>
              <a:ext uri="{FF2B5EF4-FFF2-40B4-BE49-F238E27FC236}">
                <a16:creationId xmlns:a16="http://schemas.microsoft.com/office/drawing/2014/main" id="{0010547F-9C14-40FB-B704-CB5BCC90E44B}"/>
              </a:ext>
            </a:extLst>
          </p:cNvPr>
          <p:cNvPicPr>
            <a:picLocks noChangeAspect="1"/>
          </p:cNvPicPr>
          <p:nvPr/>
        </p:nvPicPr>
        <p:blipFill>
          <a:blip r:embed="rId9"/>
          <a:stretch>
            <a:fillRect/>
          </a:stretch>
        </p:blipFill>
        <p:spPr>
          <a:xfrm>
            <a:off x="655636" y="2530984"/>
            <a:ext cx="4527513" cy="4006976"/>
          </a:xfrm>
          <a:prstGeom prst="rect">
            <a:avLst/>
          </a:prstGeom>
        </p:spPr>
      </p:pic>
    </p:spTree>
    <p:extLst>
      <p:ext uri="{BB962C8B-B14F-4D97-AF65-F5344CB8AC3E}">
        <p14:creationId xmlns:p14="http://schemas.microsoft.com/office/powerpoint/2010/main" val="3677067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3762562166"/>
              </p:ext>
            </p:extLst>
          </p:nvPr>
        </p:nvGraphicFramePr>
        <p:xfrm>
          <a:off x="655638" y="1408113"/>
          <a:ext cx="10880725" cy="4983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 Resolution and Avoidance</a:t>
            </a:r>
          </a:p>
        </p:txBody>
      </p:sp>
      <p:graphicFrame>
        <p:nvGraphicFramePr>
          <p:cNvPr id="5" name="Content Placeholder 4">
            <a:extLst>
              <a:ext uri="{FF2B5EF4-FFF2-40B4-BE49-F238E27FC236}">
                <a16:creationId xmlns:a16="http://schemas.microsoft.com/office/drawing/2014/main" id="{44F4358F-E58F-4AAD-8FAD-7052DE5FD247}"/>
              </a:ext>
            </a:extLst>
          </p:cNvPr>
          <p:cNvGraphicFramePr>
            <a:graphicFrameLocks noGrp="1"/>
          </p:cNvGraphicFramePr>
          <p:nvPr>
            <p:ph sz="quarter" idx="13"/>
            <p:extLst>
              <p:ext uri="{D42A27DB-BD31-4B8C-83A1-F6EECF244321}">
                <p14:modId xmlns:p14="http://schemas.microsoft.com/office/powerpoint/2010/main" val="279559762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71780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endParaRPr lang="en-US" dirty="0">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Deadlock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564438252"/>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roubleshooting Concurrency Performance</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Identify blocking using DMVs.</a:t>
            </a:r>
          </a:p>
          <a:p>
            <a:pPr marL="342900" indent="-342900">
              <a:buFont typeface="Arial" panose="020B0604020202020204" pitchFamily="34" charset="0"/>
              <a:buChar char="•"/>
            </a:pPr>
            <a:r>
              <a:rPr lang="en-US" dirty="0"/>
              <a:t>Identify blocking using Extended Events.</a:t>
            </a:r>
          </a:p>
          <a:p>
            <a:endParaRPr lang="en-US" dirty="0"/>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999315873"/>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pSp>
        <p:nvGrpSpPr>
          <p:cNvPr id="4" name="Group 3">
            <a:extLst>
              <a:ext uri="{FF2B5EF4-FFF2-40B4-BE49-F238E27FC236}">
                <a16:creationId xmlns:a16="http://schemas.microsoft.com/office/drawing/2014/main" id="{18B3D47A-03AE-446E-9F33-D8C9D01D87C1}"/>
              </a:ext>
            </a:extLst>
          </p:cNvPr>
          <p:cNvGrpSpPr/>
          <p:nvPr/>
        </p:nvGrpSpPr>
        <p:grpSpPr>
          <a:xfrm>
            <a:off x="655638" y="1454178"/>
            <a:ext cx="10880725" cy="3124800"/>
            <a:chOff x="655638" y="1454178"/>
            <a:chExt cx="10880725" cy="3124800"/>
          </a:xfrm>
        </p:grpSpPr>
        <p:sp>
          <p:nvSpPr>
            <p:cNvPr id="5" name="Freeform: Shape 4">
              <a:extLst>
                <a:ext uri="{FF2B5EF4-FFF2-40B4-BE49-F238E27FC236}">
                  <a16:creationId xmlns:a16="http://schemas.microsoft.com/office/drawing/2014/main" id="{2DA8BFE6-63E8-44C9-98B4-FE59948F9D64}"/>
                </a:ext>
              </a:extLst>
            </p:cNvPr>
            <p:cNvSpPr/>
            <p:nvPr/>
          </p:nvSpPr>
          <p:spPr>
            <a:xfrm>
              <a:off x="655638" y="145417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is a deadlock detected?</a:t>
              </a:r>
            </a:p>
          </p:txBody>
        </p:sp>
        <p:sp>
          <p:nvSpPr>
            <p:cNvPr id="6" name="Freeform: Shape 5">
              <a:extLst>
                <a:ext uri="{FF2B5EF4-FFF2-40B4-BE49-F238E27FC236}">
                  <a16:creationId xmlns:a16="http://schemas.microsoft.com/office/drawing/2014/main" id="{237EAD4B-241F-4199-85D9-C2CB2189E465}"/>
                </a:ext>
              </a:extLst>
            </p:cNvPr>
            <p:cNvSpPr/>
            <p:nvPr/>
          </p:nvSpPr>
          <p:spPr>
            <a:xfrm>
              <a:off x="655638" y="225553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How should a deadlock be handled in an application?</a:t>
              </a:r>
            </a:p>
          </p:txBody>
        </p:sp>
        <p:sp>
          <p:nvSpPr>
            <p:cNvPr id="7" name="Freeform: Shape 6">
              <a:extLst>
                <a:ext uri="{FF2B5EF4-FFF2-40B4-BE49-F238E27FC236}">
                  <a16:creationId xmlns:a16="http://schemas.microsoft.com/office/drawing/2014/main" id="{3BB1B8AF-5295-4D0C-8C03-B4CAC7E2587F}"/>
                </a:ext>
              </a:extLst>
            </p:cNvPr>
            <p:cNvSpPr/>
            <p:nvPr/>
          </p:nvSpPr>
          <p:spPr>
            <a:xfrm>
              <a:off x="655638" y="305689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trace flags are used in a deadlock analysis?</a:t>
              </a:r>
            </a:p>
          </p:txBody>
        </p:sp>
        <p:sp>
          <p:nvSpPr>
            <p:cNvPr id="8" name="Freeform: Shape 7">
              <a:extLst>
                <a:ext uri="{FF2B5EF4-FFF2-40B4-BE49-F238E27FC236}">
                  <a16:creationId xmlns:a16="http://schemas.microsoft.com/office/drawing/2014/main" id="{53F80485-B9E1-4870-8F91-0B3B4FBC4CEB}"/>
                </a:ext>
              </a:extLst>
            </p:cNvPr>
            <p:cNvSpPr/>
            <p:nvPr/>
          </p:nvSpPr>
          <p:spPr>
            <a:xfrm>
              <a:off x="655638" y="3858258"/>
              <a:ext cx="10880725" cy="720720"/>
            </a:xfrm>
            <a:custGeom>
              <a:avLst/>
              <a:gdLst>
                <a:gd name="connsiteX0" fmla="*/ 0 w 10880725"/>
                <a:gd name="connsiteY0" fmla="*/ 120122 h 720720"/>
                <a:gd name="connsiteX1" fmla="*/ 120122 w 10880725"/>
                <a:gd name="connsiteY1" fmla="*/ 0 h 720720"/>
                <a:gd name="connsiteX2" fmla="*/ 10760603 w 10880725"/>
                <a:gd name="connsiteY2" fmla="*/ 0 h 720720"/>
                <a:gd name="connsiteX3" fmla="*/ 10880725 w 10880725"/>
                <a:gd name="connsiteY3" fmla="*/ 120122 h 720720"/>
                <a:gd name="connsiteX4" fmla="*/ 10880725 w 10880725"/>
                <a:gd name="connsiteY4" fmla="*/ 600598 h 720720"/>
                <a:gd name="connsiteX5" fmla="*/ 10760603 w 10880725"/>
                <a:gd name="connsiteY5" fmla="*/ 720720 h 720720"/>
                <a:gd name="connsiteX6" fmla="*/ 120122 w 10880725"/>
                <a:gd name="connsiteY6" fmla="*/ 720720 h 720720"/>
                <a:gd name="connsiteX7" fmla="*/ 0 w 10880725"/>
                <a:gd name="connsiteY7" fmla="*/ 600598 h 720720"/>
                <a:gd name="connsiteX8" fmla="*/ 0 w 10880725"/>
                <a:gd name="connsiteY8" fmla="*/ 120122 h 7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80725" h="720720">
                  <a:moveTo>
                    <a:pt x="0" y="120122"/>
                  </a:moveTo>
                  <a:cubicBezTo>
                    <a:pt x="0" y="53780"/>
                    <a:pt x="53780" y="0"/>
                    <a:pt x="120122" y="0"/>
                  </a:cubicBezTo>
                  <a:lnTo>
                    <a:pt x="10760603" y="0"/>
                  </a:lnTo>
                  <a:cubicBezTo>
                    <a:pt x="10826945" y="0"/>
                    <a:pt x="10880725" y="53780"/>
                    <a:pt x="10880725" y="120122"/>
                  </a:cubicBezTo>
                  <a:lnTo>
                    <a:pt x="10880725" y="600598"/>
                  </a:lnTo>
                  <a:cubicBezTo>
                    <a:pt x="10880725" y="666940"/>
                    <a:pt x="10826945" y="720720"/>
                    <a:pt x="10760603" y="720720"/>
                  </a:cubicBezTo>
                  <a:lnTo>
                    <a:pt x="120122" y="720720"/>
                  </a:lnTo>
                  <a:cubicBezTo>
                    <a:pt x="53780" y="720720"/>
                    <a:pt x="0" y="666940"/>
                    <a:pt x="0" y="600598"/>
                  </a:cubicBezTo>
                  <a:lnTo>
                    <a:pt x="0" y="120122"/>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1863" tIns="141863" rIns="141863" bIns="141863" numCol="1" spcCol="1270" anchor="ctr" anchorCtr="0">
              <a:noAutofit/>
            </a:bodyPr>
            <a:lstStyle/>
            <a:p>
              <a:pPr lvl="0" defTabSz="1244600">
                <a:lnSpc>
                  <a:spcPct val="90000"/>
                </a:lnSpc>
                <a:spcBef>
                  <a:spcPct val="0"/>
                </a:spcBef>
                <a:spcAft>
                  <a:spcPct val="35000"/>
                </a:spcAft>
              </a:pPr>
              <a:r>
                <a:rPr lang="en-US" sz="2400" dirty="0"/>
                <a:t>What is the Extended Event used in a deadlock analysis?</a:t>
              </a:r>
            </a:p>
          </p:txBody>
        </p:sp>
      </p:grpSp>
    </p:spTree>
    <p:extLst>
      <p:ext uri="{BB962C8B-B14F-4D97-AF65-F5344CB8AC3E}">
        <p14:creationId xmlns:p14="http://schemas.microsoft.com/office/powerpoint/2010/main" val="17372909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Image result for blue database"/>
          <p:cNvSpPr>
            <a:spLocks noChangeAspect="1" noChangeArrowheads="1"/>
          </p:cNvSpPr>
          <p:nvPr/>
        </p:nvSpPr>
        <p:spPr bwMode="auto">
          <a:xfrm>
            <a:off x="156417" y="-143955"/>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3" name="AutoShape 4" descr="Image result for blue database"/>
          <p:cNvSpPr>
            <a:spLocks noChangeAspect="1" noChangeArrowheads="1"/>
          </p:cNvSpPr>
          <p:nvPr/>
        </p:nvSpPr>
        <p:spPr bwMode="auto">
          <a:xfrm>
            <a:off x="308796" y="8423"/>
            <a:ext cx="304757" cy="3047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latin typeface="Segoe UI"/>
            </a:endParaRPr>
          </a:p>
        </p:txBody>
      </p:sp>
      <p:sp>
        <p:nvSpPr>
          <p:cNvPr id="16" name="Title 1"/>
          <p:cNvSpPr txBox="1">
            <a:spLocks/>
          </p:cNvSpPr>
          <p:nvPr/>
        </p:nvSpPr>
        <p:spPr>
          <a:xfrm>
            <a:off x="270065" y="186290"/>
            <a:ext cx="10971244" cy="1142838"/>
          </a:xfrm>
          <a:prstGeom prst="rect">
            <a:avLst/>
          </a:prstGeom>
        </p:spPr>
        <p:txBody>
          <a:bodyPr vert="horz" lIns="91427" tIns="45713" rIns="91427" bIns="45713" rtlCol="0" anchor="t">
            <a:noAutofit/>
          </a:bodyPr>
          <a:lst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a:lstStyle>
          <a:p>
            <a:pPr defTabSz="457025"/>
            <a:r>
              <a:rPr lang="en-US" altLang="en-US" dirty="0">
                <a:solidFill>
                  <a:prstClr val="black"/>
                </a:solidFill>
                <a:latin typeface="Segoe UI"/>
              </a:rPr>
              <a:t>Logical Units of Work – Auto Commit Transactions</a:t>
            </a:r>
          </a:p>
        </p:txBody>
      </p:sp>
      <p:grpSp>
        <p:nvGrpSpPr>
          <p:cNvPr id="6" name="Group 5">
            <a:extLst>
              <a:ext uri="{FF2B5EF4-FFF2-40B4-BE49-F238E27FC236}">
                <a16:creationId xmlns:a16="http://schemas.microsoft.com/office/drawing/2014/main" id="{4CC667FF-B22B-465A-8DC8-6641F319598E}"/>
              </a:ext>
            </a:extLst>
          </p:cNvPr>
          <p:cNvGrpSpPr/>
          <p:nvPr/>
        </p:nvGrpSpPr>
        <p:grpSpPr>
          <a:xfrm>
            <a:off x="712432" y="1329128"/>
            <a:ext cx="10767135" cy="4831373"/>
            <a:chOff x="612774" y="1132514"/>
            <a:chExt cx="10768662" cy="4832058"/>
          </a:xfrm>
        </p:grpSpPr>
        <p:pic>
          <p:nvPicPr>
            <p:cNvPr id="25" name="Graphic 24" descr="Woman">
              <a:extLst>
                <a:ext uri="{FF2B5EF4-FFF2-40B4-BE49-F238E27FC236}">
                  <a16:creationId xmlns:a16="http://schemas.microsoft.com/office/drawing/2014/main" id="{1CB2FCCC-244E-4E74-875D-A7B83D0E9F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5891" y="1805889"/>
              <a:ext cx="1591515" cy="1591515"/>
            </a:xfrm>
            <a:prstGeom prst="rect">
              <a:avLst/>
            </a:prstGeom>
          </p:spPr>
        </p:pic>
        <p:sp>
          <p:nvSpPr>
            <p:cNvPr id="26" name="Rectangle 25">
              <a:extLst>
                <a:ext uri="{FF2B5EF4-FFF2-40B4-BE49-F238E27FC236}">
                  <a16:creationId xmlns:a16="http://schemas.microsoft.com/office/drawing/2014/main" id="{CADAED4B-70D0-4C3B-8EA4-7069B422819A}"/>
                </a:ext>
              </a:extLst>
            </p:cNvPr>
            <p:cNvSpPr/>
            <p:nvPr/>
          </p:nvSpPr>
          <p:spPr>
            <a:xfrm>
              <a:off x="9660492" y="2367318"/>
              <a:ext cx="1480948" cy="646409"/>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Diane</a:t>
              </a:r>
            </a:p>
          </p:txBody>
        </p:sp>
        <p:grpSp>
          <p:nvGrpSpPr>
            <p:cNvPr id="33" name="Group 32">
              <a:extLst>
                <a:ext uri="{FF2B5EF4-FFF2-40B4-BE49-F238E27FC236}">
                  <a16:creationId xmlns:a16="http://schemas.microsoft.com/office/drawing/2014/main" id="{F5FB84FD-57F0-48EC-B79A-C2A3A342E01F}"/>
                </a:ext>
              </a:extLst>
            </p:cNvPr>
            <p:cNvGrpSpPr/>
            <p:nvPr/>
          </p:nvGrpSpPr>
          <p:grpSpPr>
            <a:xfrm>
              <a:off x="1309104" y="1805889"/>
              <a:ext cx="2363504" cy="1591515"/>
              <a:chOff x="992290" y="1732574"/>
              <a:chExt cx="2363504" cy="1591515"/>
            </a:xfrm>
          </p:grpSpPr>
          <p:pic>
            <p:nvPicPr>
              <p:cNvPr id="28" name="Graphic 27" descr="Man">
                <a:extLst>
                  <a:ext uri="{FF2B5EF4-FFF2-40B4-BE49-F238E27FC236}">
                    <a16:creationId xmlns:a16="http://schemas.microsoft.com/office/drawing/2014/main" id="{E6BEB965-2FBE-4B12-B559-DF9399BA1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64279" y="1732574"/>
                <a:ext cx="1591515" cy="1591515"/>
              </a:xfrm>
              <a:prstGeom prst="rect">
                <a:avLst/>
              </a:prstGeom>
            </p:spPr>
          </p:pic>
          <p:sp>
            <p:nvSpPr>
              <p:cNvPr id="29" name="Rectangle 28">
                <a:extLst>
                  <a:ext uri="{FF2B5EF4-FFF2-40B4-BE49-F238E27FC236}">
                    <a16:creationId xmlns:a16="http://schemas.microsoft.com/office/drawing/2014/main" id="{2F04B5DA-F1BD-4F6F-BFC1-394003C40191}"/>
                  </a:ext>
                </a:extLst>
              </p:cNvPr>
              <p:cNvSpPr/>
              <p:nvPr/>
            </p:nvSpPr>
            <p:spPr>
              <a:xfrm>
                <a:off x="992290" y="2294003"/>
                <a:ext cx="1190934" cy="657424"/>
              </a:xfrm>
              <a:prstGeom prst="rect">
                <a:avLst/>
              </a:prstGeom>
              <a:noFill/>
            </p:spPr>
            <p:txBody>
              <a:bodyPr wrap="square" lIns="91427" tIns="45713" rIns="91427" bIns="45713">
                <a:spAutoFit/>
              </a:bodyPr>
              <a:lstStyle/>
              <a:p>
                <a:pPr algn="ctr" defTabSz="914225"/>
                <a:r>
                  <a:rPr lang="en-US" sz="3600" dirty="0">
                    <a:ln w="0"/>
                    <a:solidFill>
                      <a:prstClr val="black"/>
                    </a:solidFill>
                    <a:effectLst>
                      <a:outerShdw blurRad="38100" dist="19050" dir="2700000" algn="tl" rotWithShape="0">
                        <a:prstClr val="black">
                          <a:alpha val="40000"/>
                        </a:prstClr>
                      </a:outerShdw>
                    </a:effectLst>
                    <a:latin typeface="Segoe UI"/>
                  </a:rPr>
                  <a:t>Jack</a:t>
                </a:r>
              </a:p>
            </p:txBody>
          </p:sp>
        </p:grpSp>
        <p:sp>
          <p:nvSpPr>
            <p:cNvPr id="31" name="Arrow: Right 30">
              <a:extLst>
                <a:ext uri="{FF2B5EF4-FFF2-40B4-BE49-F238E27FC236}">
                  <a16:creationId xmlns:a16="http://schemas.microsoft.com/office/drawing/2014/main" id="{1EABDD45-FA95-4956-9B72-F263097D1441}"/>
                </a:ext>
              </a:extLst>
            </p:cNvPr>
            <p:cNvSpPr/>
            <p:nvPr/>
          </p:nvSpPr>
          <p:spPr>
            <a:xfrm>
              <a:off x="4698745" y="1935147"/>
              <a:ext cx="2596720" cy="1143000"/>
            </a:xfrm>
            <a:prstGeom prst="righ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2" name="Rectangle 31">
              <a:extLst>
                <a:ext uri="{FF2B5EF4-FFF2-40B4-BE49-F238E27FC236}">
                  <a16:creationId xmlns:a16="http://schemas.microsoft.com/office/drawing/2014/main" id="{00C59E7A-7437-4BF3-AB7E-BA6E4C9B1DA7}"/>
                </a:ext>
              </a:extLst>
            </p:cNvPr>
            <p:cNvSpPr/>
            <p:nvPr/>
          </p:nvSpPr>
          <p:spPr>
            <a:xfrm>
              <a:off x="5250318" y="2183482"/>
              <a:ext cx="1425730" cy="657424"/>
            </a:xfrm>
            <a:prstGeom prst="rect">
              <a:avLst/>
            </a:prstGeom>
          </p:spPr>
          <p:txBody>
            <a:bodyPr wrap="square">
              <a:spAutoFit/>
            </a:bodyPr>
            <a:lstStyle/>
            <a:p>
              <a:pPr defTabSz="914225"/>
              <a:r>
                <a:rPr lang="en-US" sz="3600" dirty="0">
                  <a:solidFill>
                    <a:prstClr val="white"/>
                  </a:solidFill>
                  <a:latin typeface="Segoe UI"/>
                </a:rPr>
                <a:t>$200</a:t>
              </a:r>
            </a:p>
          </p:txBody>
        </p:sp>
        <p:sp>
          <p:nvSpPr>
            <p:cNvPr id="36" name="Rectangle: Rounded Corners 35">
              <a:extLst>
                <a:ext uri="{FF2B5EF4-FFF2-40B4-BE49-F238E27FC236}">
                  <a16:creationId xmlns:a16="http://schemas.microsoft.com/office/drawing/2014/main" id="{88635BB8-6052-4ECE-8ABD-282DC1A12872}"/>
                </a:ext>
              </a:extLst>
            </p:cNvPr>
            <p:cNvSpPr/>
            <p:nvPr/>
          </p:nvSpPr>
          <p:spPr>
            <a:xfrm>
              <a:off x="612774"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sp>
          <p:nvSpPr>
            <p:cNvPr id="37" name="Rectangle: Rounded Corners 36">
              <a:extLst>
                <a:ext uri="{FF2B5EF4-FFF2-40B4-BE49-F238E27FC236}">
                  <a16:creationId xmlns:a16="http://schemas.microsoft.com/office/drawing/2014/main" id="{6AF83B62-F638-4258-AE19-1F29D18B159F}"/>
                </a:ext>
              </a:extLst>
            </p:cNvPr>
            <p:cNvSpPr/>
            <p:nvPr/>
          </p:nvSpPr>
          <p:spPr>
            <a:xfrm>
              <a:off x="7449559" y="1132514"/>
              <a:ext cx="3931877" cy="483205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a:solidFill>
                  <a:prstClr val="white"/>
                </a:solidFill>
                <a:latin typeface="Segoe UI"/>
              </a:endParaRPr>
            </a:p>
          </p:txBody>
        </p:sp>
        <p:grpSp>
          <p:nvGrpSpPr>
            <p:cNvPr id="5" name="Group 4">
              <a:extLst>
                <a:ext uri="{FF2B5EF4-FFF2-40B4-BE49-F238E27FC236}">
                  <a16:creationId xmlns:a16="http://schemas.microsoft.com/office/drawing/2014/main" id="{9E599B0E-F234-44BD-AC0B-23BFD8915939}"/>
                </a:ext>
              </a:extLst>
            </p:cNvPr>
            <p:cNvGrpSpPr/>
            <p:nvPr/>
          </p:nvGrpSpPr>
          <p:grpSpPr>
            <a:xfrm>
              <a:off x="694605" y="3651149"/>
              <a:ext cx="3747137" cy="1835492"/>
              <a:chOff x="694605" y="3550481"/>
              <a:chExt cx="3747137" cy="1835492"/>
            </a:xfrm>
          </p:grpSpPr>
          <p:sp>
            <p:nvSpPr>
              <p:cNvPr id="21" name="Rounded Rectangle 3">
                <a:extLst>
                  <a:ext uri="{FF2B5EF4-FFF2-40B4-BE49-F238E27FC236}">
                    <a16:creationId xmlns:a16="http://schemas.microsoft.com/office/drawing/2014/main" id="{393C043D-2280-4D05-9D5F-0D050A42B04A}"/>
                  </a:ext>
                </a:extLst>
              </p:cNvPr>
              <p:cNvSpPr/>
              <p:nvPr/>
            </p:nvSpPr>
            <p:spPr>
              <a:xfrm>
                <a:off x="694605" y="3550481"/>
                <a:ext cx="3747137" cy="1801695"/>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7" name="Picture 6">
                <a:extLst>
                  <a:ext uri="{FF2B5EF4-FFF2-40B4-BE49-F238E27FC236}">
                    <a16:creationId xmlns:a16="http://schemas.microsoft.com/office/drawing/2014/main" id="{C4E79153-446E-4DE0-9BD2-95584B3825BC}"/>
                  </a:ext>
                </a:extLst>
              </p:cNvPr>
              <p:cNvPicPr>
                <a:picLocks noChangeAspect="1"/>
              </p:cNvPicPr>
              <p:nvPr/>
            </p:nvPicPr>
            <p:blipFill>
              <a:blip r:embed="rId6"/>
              <a:stretch>
                <a:fillRect/>
              </a:stretch>
            </p:blipFill>
            <p:spPr>
              <a:xfrm>
                <a:off x="865618" y="3696460"/>
                <a:ext cx="3409950" cy="1209675"/>
              </a:xfrm>
              <a:prstGeom prst="rect">
                <a:avLst/>
              </a:prstGeom>
            </p:spPr>
          </p:pic>
          <p:sp>
            <p:nvSpPr>
              <p:cNvPr id="38" name="Rectangle 37">
                <a:extLst>
                  <a:ext uri="{FF2B5EF4-FFF2-40B4-BE49-F238E27FC236}">
                    <a16:creationId xmlns:a16="http://schemas.microsoft.com/office/drawing/2014/main" id="{5FB1EBEC-46D4-42A3-95A3-B8B96F97E442}"/>
                  </a:ext>
                </a:extLst>
              </p:cNvPr>
              <p:cNvSpPr/>
              <p:nvPr/>
            </p:nvSpPr>
            <p:spPr>
              <a:xfrm>
                <a:off x="1422172" y="4864541"/>
                <a:ext cx="2275224" cy="521432"/>
              </a:xfrm>
              <a:prstGeom prst="rect">
                <a:avLst/>
              </a:prstGeom>
            </p:spPr>
            <p:txBody>
              <a:bodyPr wrap="square">
                <a:spAutoFit/>
              </a:bodyPr>
              <a:lstStyle/>
              <a:p>
                <a:pPr defTabSz="914225"/>
                <a:r>
                  <a:rPr lang="en-US" sz="2800" dirty="0">
                    <a:solidFill>
                      <a:prstClr val="white"/>
                    </a:solidFill>
                    <a:latin typeface="Segoe UI"/>
                  </a:rPr>
                  <a:t>Transaction 1</a:t>
                </a:r>
              </a:p>
            </p:txBody>
          </p:sp>
        </p:grpSp>
        <p:grpSp>
          <p:nvGrpSpPr>
            <p:cNvPr id="4" name="Group 3">
              <a:extLst>
                <a:ext uri="{FF2B5EF4-FFF2-40B4-BE49-F238E27FC236}">
                  <a16:creationId xmlns:a16="http://schemas.microsoft.com/office/drawing/2014/main" id="{25A7046C-B46D-422A-90DD-B9C0BCA92D3E}"/>
                </a:ext>
              </a:extLst>
            </p:cNvPr>
            <p:cNvGrpSpPr/>
            <p:nvPr/>
          </p:nvGrpSpPr>
          <p:grpSpPr>
            <a:xfrm>
              <a:off x="7527310" y="3651149"/>
              <a:ext cx="3781841" cy="1835492"/>
              <a:chOff x="7527310" y="3550481"/>
              <a:chExt cx="3781841" cy="1835492"/>
            </a:xfrm>
          </p:grpSpPr>
          <p:sp>
            <p:nvSpPr>
              <p:cNvPr id="22" name="Rounded Rectangle 3">
                <a:extLst>
                  <a:ext uri="{FF2B5EF4-FFF2-40B4-BE49-F238E27FC236}">
                    <a16:creationId xmlns:a16="http://schemas.microsoft.com/office/drawing/2014/main" id="{32D1F96F-3683-4075-AC11-5EE32177CFF3}"/>
                  </a:ext>
                </a:extLst>
              </p:cNvPr>
              <p:cNvSpPr/>
              <p:nvPr/>
            </p:nvSpPr>
            <p:spPr>
              <a:xfrm>
                <a:off x="7527310" y="3550481"/>
                <a:ext cx="3781841" cy="1801694"/>
              </a:xfrm>
              <a:prstGeom prst="round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Segoe UI"/>
                </a:endParaRPr>
              </a:p>
            </p:txBody>
          </p:sp>
          <p:pic>
            <p:nvPicPr>
              <p:cNvPr id="20" name="Picture 19">
                <a:extLst>
                  <a:ext uri="{FF2B5EF4-FFF2-40B4-BE49-F238E27FC236}">
                    <a16:creationId xmlns:a16="http://schemas.microsoft.com/office/drawing/2014/main" id="{AED03E70-5A7B-4E15-BCE0-62A5EEB7554E}"/>
                  </a:ext>
                </a:extLst>
              </p:cNvPr>
              <p:cNvPicPr>
                <a:picLocks noChangeAspect="1"/>
              </p:cNvPicPr>
              <p:nvPr/>
            </p:nvPicPr>
            <p:blipFill>
              <a:blip r:embed="rId7"/>
              <a:stretch>
                <a:fillRect/>
              </a:stretch>
            </p:blipFill>
            <p:spPr>
              <a:xfrm>
                <a:off x="7699908" y="3719269"/>
                <a:ext cx="3441531" cy="1162050"/>
              </a:xfrm>
              <a:prstGeom prst="rect">
                <a:avLst/>
              </a:prstGeom>
            </p:spPr>
          </p:pic>
          <p:sp>
            <p:nvSpPr>
              <p:cNvPr id="40" name="Rectangle 39">
                <a:extLst>
                  <a:ext uri="{FF2B5EF4-FFF2-40B4-BE49-F238E27FC236}">
                    <a16:creationId xmlns:a16="http://schemas.microsoft.com/office/drawing/2014/main" id="{CDFEE6B0-8A8D-4912-AFCB-BDE437F3A5C0}"/>
                  </a:ext>
                </a:extLst>
              </p:cNvPr>
              <p:cNvSpPr/>
              <p:nvPr/>
            </p:nvSpPr>
            <p:spPr>
              <a:xfrm>
                <a:off x="8277885" y="4864541"/>
                <a:ext cx="2275224" cy="521432"/>
              </a:xfrm>
              <a:prstGeom prst="rect">
                <a:avLst/>
              </a:prstGeom>
            </p:spPr>
            <p:txBody>
              <a:bodyPr wrap="square">
                <a:spAutoFit/>
              </a:bodyPr>
              <a:lstStyle/>
              <a:p>
                <a:pPr defTabSz="914225"/>
                <a:r>
                  <a:rPr lang="en-US" sz="2800" dirty="0">
                    <a:solidFill>
                      <a:prstClr val="white"/>
                    </a:solidFill>
                    <a:latin typeface="Segoe UI"/>
                  </a:rPr>
                  <a:t>Transaction 2</a:t>
                </a:r>
              </a:p>
            </p:txBody>
          </p:sp>
        </p:grpSp>
      </p:grpSp>
    </p:spTree>
    <p:extLst>
      <p:ext uri="{BB962C8B-B14F-4D97-AF65-F5344CB8AC3E}">
        <p14:creationId xmlns:p14="http://schemas.microsoft.com/office/powerpoint/2010/main" val="25877571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3732285227"/>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heme/theme1.xml><?xml version="1.0" encoding="utf-8"?>
<a:theme xmlns:a="http://schemas.openxmlformats.org/drawingml/2006/main" name="CORE TEMPLATE">
  <a:themeElements>
    <a:clrScheme name="Custom 161">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2.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2_CORE TEMPLATE">
  <a:themeElements>
    <a:clrScheme name="Custom 162">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C42A160-080E-4178-8FDB-B5422D4D778A}">
  <ds:schemaRefs>
    <ds:schemaRef ds:uri="Strauss.PersonalizationDefinition"/>
  </ds:schemaRefs>
</ds:datastoreItem>
</file>

<file path=customXml/itemProps10.xml><?xml version="1.0" encoding="utf-8"?>
<ds:datastoreItem xmlns:ds="http://schemas.openxmlformats.org/officeDocument/2006/customXml" ds:itemID="{4C04CDDE-2D6B-4F45-8A75-E18007E562B8}">
  <ds:schemaRefs>
    <ds:schemaRef ds:uri="Strauss.PersonalizationDefinition"/>
  </ds:schemaRefs>
</ds:datastoreItem>
</file>

<file path=customXml/itemProps11.xml><?xml version="1.0" encoding="utf-8"?>
<ds:datastoreItem xmlns:ds="http://schemas.openxmlformats.org/officeDocument/2006/customXml" ds:itemID="{9EEC7FED-AC7D-45C9-8F29-C2C8A7233C3D}">
  <ds:schemaRefs>
    <ds:schemaRef ds:uri="Strauss.PersonalizationDefinition"/>
  </ds:schemaRefs>
</ds:datastoreItem>
</file>

<file path=customXml/itemProps12.xml><?xml version="1.0" encoding="utf-8"?>
<ds:datastoreItem xmlns:ds="http://schemas.openxmlformats.org/officeDocument/2006/customXml" ds:itemID="{B2662782-95F8-44F4-9C5B-3C20D01859DC}">
  <ds:schemaRefs>
    <ds:schemaRef ds:uri="Strauss.PersonalizationDefinition"/>
  </ds:schemaRefs>
</ds:datastoreItem>
</file>

<file path=customXml/itemProps1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2ECBEDFC-6BB0-4ACB-896F-131497F3EA9D}">
  <ds:schemaRefs>
    <ds:schemaRef ds:uri="Strauss.PersonalizationDefinition"/>
  </ds:schemaRefs>
</ds:datastoreItem>
</file>

<file path=customXml/itemProps3.xml><?xml version="1.0" encoding="utf-8"?>
<ds:datastoreItem xmlns:ds="http://schemas.openxmlformats.org/officeDocument/2006/customXml" ds:itemID="{5319EDF9-1291-4762-B099-14F0AC870E88}">
  <ds:schemaRefs>
    <ds:schemaRef ds:uri="Strauss.PersonalizationDefinition"/>
  </ds:schemaRefs>
</ds:datastoreItem>
</file>

<file path=customXml/itemProps4.xml><?xml version="1.0" encoding="utf-8"?>
<ds:datastoreItem xmlns:ds="http://schemas.openxmlformats.org/officeDocument/2006/customXml" ds:itemID="{35A184F6-9A4D-432E-BD2E-8543C142498D}">
  <ds:schemaRefs>
    <ds:schemaRef ds:uri="Strauss.PersonalizationDefinition"/>
  </ds:schemaRefs>
</ds:datastoreItem>
</file>

<file path=customXml/itemProps5.xml><?xml version="1.0" encoding="utf-8"?>
<ds:datastoreItem xmlns:ds="http://schemas.openxmlformats.org/officeDocument/2006/customXml" ds:itemID="{B0B7365C-9007-43A3-98C2-A9E55951F7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8F4CBF12-53FB-4126-B801-12CCF3B1A0C2}">
  <ds:schemaRefs>
    <ds:schemaRef ds:uri="http://schemas.microsoft.com/sharepoint/v3/contenttype/forms"/>
  </ds:schemaRefs>
</ds:datastoreItem>
</file>

<file path=customXml/itemProps7.xml><?xml version="1.0" encoding="utf-8"?>
<ds:datastoreItem xmlns:ds="http://schemas.openxmlformats.org/officeDocument/2006/customXml" ds:itemID="{FDF350C7-94E8-4D0F-AE22-38F437380DED}">
  <ds:schemaRefs>
    <ds:schemaRef ds:uri="Strauss.PersonalizationDefinition"/>
  </ds:schemaRefs>
</ds:datastoreItem>
</file>

<file path=customXml/itemProps8.xml><?xml version="1.0" encoding="utf-8"?>
<ds:datastoreItem xmlns:ds="http://schemas.openxmlformats.org/officeDocument/2006/customXml" ds:itemID="{75C05EC8-D295-4080-807A-6EA8C339A657}">
  <ds:schemaRefs>
    <ds:schemaRef ds:uri="Strauss.PersonalizationDefinition"/>
  </ds:schemaRefs>
</ds:datastoreItem>
</file>

<file path=customXml/itemProps9.xml><?xml version="1.0" encoding="utf-8"?>
<ds:datastoreItem xmlns:ds="http://schemas.openxmlformats.org/officeDocument/2006/customXml" ds:itemID="{9CFE9A22-C3CB-45B7-B365-FE59FD6BB66B}">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474</TotalTime>
  <Words>19118</Words>
  <Application>Microsoft Office PowerPoint</Application>
  <PresentationFormat>Widescreen</PresentationFormat>
  <Paragraphs>1467</Paragraphs>
  <Slides>74</Slides>
  <Notes>58</Notes>
  <HiddenSlides>10</HiddenSlides>
  <MMClips>0</MMClips>
  <ScaleCrop>false</ScaleCrop>
  <HeadingPairs>
    <vt:vector size="6" baseType="variant">
      <vt:variant>
        <vt:lpstr>Fonts Used</vt:lpstr>
      </vt:variant>
      <vt:variant>
        <vt:i4>13</vt:i4>
      </vt:variant>
      <vt:variant>
        <vt:lpstr>Theme</vt:lpstr>
      </vt:variant>
      <vt:variant>
        <vt:i4>5</vt:i4>
      </vt:variant>
      <vt:variant>
        <vt:lpstr>Slide Titles</vt:lpstr>
      </vt:variant>
      <vt:variant>
        <vt:i4>74</vt:i4>
      </vt:variant>
    </vt:vector>
  </HeadingPairs>
  <TitlesOfParts>
    <vt:vector size="92" baseType="lpstr">
      <vt:lpstr>&amp;quot</vt:lpstr>
      <vt:lpstr>Arial</vt:lpstr>
      <vt:lpstr>Calibri</vt:lpstr>
      <vt:lpstr>Calibri Light</vt:lpstr>
      <vt:lpstr>Century Gothic</vt:lpstr>
      <vt:lpstr>Comic Sans MS</vt:lpstr>
      <vt:lpstr>Consolas</vt:lpstr>
      <vt:lpstr>Lucida Console</vt:lpstr>
      <vt:lpstr>Segoe UI</vt:lpstr>
      <vt:lpstr>Segoe UI Light</vt:lpstr>
      <vt:lpstr>Segoe UI Semibold</vt:lpstr>
      <vt:lpstr>Verdana</vt:lpstr>
      <vt:lpstr>Wingdings</vt:lpstr>
      <vt:lpstr>CORE TEMPLATE</vt:lpstr>
      <vt:lpstr>PASS 2013_SpeakerTemplate_Final</vt:lpstr>
      <vt:lpstr>2_CORE TEMPLATE</vt:lpstr>
      <vt:lpstr>Workshop</vt:lpstr>
      <vt:lpstr>1_Dark Blue</vt:lpstr>
      <vt:lpstr>SQL Server Concurrency and Transactions</vt:lpstr>
      <vt:lpstr>Learning Units covered in this Module</vt:lpstr>
      <vt:lpstr>Objectives</vt:lpstr>
      <vt:lpstr>Lesson 1: SQL Server Concurrency and Transactions</vt:lpstr>
      <vt:lpstr>What is a Transaction?</vt:lpstr>
      <vt:lpstr>Transaction Modes</vt:lpstr>
      <vt:lpstr>Auto-Commit transaction Mode</vt:lpstr>
      <vt:lpstr>PowerPoint Presentation</vt:lpstr>
      <vt:lpstr>Explicit transaction mode</vt:lpstr>
      <vt:lpstr>PowerPoint Presentation</vt:lpstr>
      <vt:lpstr>Implicit transaction mode</vt:lpstr>
      <vt:lpstr>Considerations for using transactions</vt:lpstr>
      <vt:lpstr>Demonstration</vt:lpstr>
      <vt:lpstr>Knowledge Check</vt:lpstr>
      <vt:lpstr>Lesson 2: SQL Server Isolation Levels</vt:lpstr>
      <vt:lpstr>PowerPoint Presentation</vt:lpstr>
      <vt:lpstr>Types of concurrency problems </vt:lpstr>
      <vt:lpstr>ANSI SQL Isolation Levels</vt:lpstr>
      <vt:lpstr>PowerPoint Presentation</vt:lpstr>
      <vt:lpstr>PowerPoint Presentation</vt:lpstr>
      <vt:lpstr>PowerPoint Presentation</vt:lpstr>
      <vt:lpstr>PowerPoint Presentation</vt:lpstr>
      <vt:lpstr>PowerPoint Presentation</vt:lpstr>
      <vt:lpstr>Balancing Isolation with concurrency</vt:lpstr>
      <vt:lpstr>Concurrency </vt:lpstr>
      <vt:lpstr>Snapshot Isolation</vt:lpstr>
      <vt:lpstr>Enabling row versioning-based isolation</vt:lpstr>
      <vt:lpstr>Demonstration </vt:lpstr>
      <vt:lpstr>SQL Server Isolation Levels</vt:lpstr>
      <vt:lpstr>Knowledge Check</vt:lpstr>
      <vt:lpstr>Lesson 3: SQL Server Locking</vt:lpstr>
      <vt:lpstr>Objectives</vt:lpstr>
      <vt:lpstr>PowerPoint Presentation</vt:lpstr>
      <vt:lpstr>Multi-Granular Locking</vt:lpstr>
      <vt:lpstr>Lock Granularity and Hierarchies</vt:lpstr>
      <vt:lpstr>Lock Duration</vt:lpstr>
      <vt:lpstr>Lock Mode - Standard</vt:lpstr>
      <vt:lpstr>Lock Mode - Special</vt:lpstr>
      <vt:lpstr>Establish Lock Hierarchy with Intent Locks</vt:lpstr>
      <vt:lpstr>Lock hierarchy with intent locks</vt:lpstr>
      <vt:lpstr>Lock Compatibility</vt:lpstr>
      <vt:lpstr>Dynamic locking</vt:lpstr>
      <vt:lpstr>Lock escalation</vt:lpstr>
      <vt:lpstr>Notes</vt:lpstr>
      <vt:lpstr>Locking Hints</vt:lpstr>
      <vt:lpstr>Demonstration</vt:lpstr>
      <vt:lpstr>Knowledge Check</vt:lpstr>
      <vt:lpstr>Lesson 4: Delayed Transaction Durability </vt:lpstr>
      <vt:lpstr>Objectives</vt:lpstr>
      <vt:lpstr>Delayed durability</vt:lpstr>
      <vt:lpstr>When to use delayed transaction durability</vt:lpstr>
      <vt:lpstr>Delayed Durability</vt:lpstr>
      <vt:lpstr>Transaction Logging (Delayed Durability)</vt:lpstr>
      <vt:lpstr>Delayed durability and other SQL Server features</vt:lpstr>
      <vt:lpstr>Delayed durability and other SQL Server features</vt:lpstr>
      <vt:lpstr>Questions?</vt:lpstr>
      <vt:lpstr>Knowledge Check</vt:lpstr>
      <vt:lpstr>Lesson 4: Troubleshooting Concurrency Performance</vt:lpstr>
      <vt:lpstr>Objectives</vt:lpstr>
      <vt:lpstr>Blocking</vt:lpstr>
      <vt:lpstr>Common Blocking Scenarios and Resolution</vt:lpstr>
      <vt:lpstr>Detecting Compile Blocking</vt:lpstr>
      <vt:lpstr>Minimizing Blocking</vt:lpstr>
      <vt:lpstr>Demonstration</vt:lpstr>
      <vt:lpstr>What is a deadlock?</vt:lpstr>
      <vt:lpstr>What Is a Deadlock?</vt:lpstr>
      <vt:lpstr> Detection and Identification</vt:lpstr>
      <vt:lpstr>Deadlock Analysis</vt:lpstr>
      <vt:lpstr>Deadlock Analysis</vt:lpstr>
      <vt:lpstr> Resolution and Avoidance</vt:lpstr>
      <vt:lpstr>Demonstration</vt:lpstr>
      <vt:lpstr>Troubleshooting Concurrency Performance</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Concurrency and Transactions</dc:title>
  <dc:creator>Varinder Singh</dc:creator>
  <cp:lastModifiedBy>John Deardurff</cp:lastModifiedBy>
  <cp:revision>33</cp:revision>
  <dcterms:created xsi:type="dcterms:W3CDTF">2020-02-14T21:25:17Z</dcterms:created>
  <dcterms:modified xsi:type="dcterms:W3CDTF">2023-04-07T17:0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rising@microsoft.com</vt:lpwstr>
  </property>
  <property fmtid="{D5CDD505-2E9C-101B-9397-08002B2CF9AE}" pid="5" name="MSIP_Label_f42aa342-8706-4288-bd11-ebb85995028c_SetDate">
    <vt:lpwstr>2020-02-14T21:26:39.714535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2c248230-ee35-4947-9dc1-9e71e0f3765b</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ies>
</file>